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68" r:id="rId5"/>
    <p:sldMasterId id="2147483739" r:id="rId6"/>
    <p:sldMasterId id="2147483793" r:id="rId7"/>
  </p:sldMasterIdLst>
  <p:notesMasterIdLst>
    <p:notesMasterId r:id="rId39"/>
  </p:notesMasterIdLst>
  <p:handoutMasterIdLst>
    <p:handoutMasterId r:id="rId40"/>
  </p:handoutMasterIdLst>
  <p:sldIdLst>
    <p:sldId id="5002" r:id="rId8"/>
    <p:sldId id="5224" r:id="rId9"/>
    <p:sldId id="5189" r:id="rId10"/>
    <p:sldId id="5191" r:id="rId11"/>
    <p:sldId id="5229" r:id="rId12"/>
    <p:sldId id="5193" r:id="rId13"/>
    <p:sldId id="5195" r:id="rId14"/>
    <p:sldId id="5228" r:id="rId15"/>
    <p:sldId id="5227" r:id="rId16"/>
    <p:sldId id="5196" r:id="rId17"/>
    <p:sldId id="5231" r:id="rId18"/>
    <p:sldId id="5232" r:id="rId19"/>
    <p:sldId id="5233" r:id="rId20"/>
    <p:sldId id="5234" r:id="rId21"/>
    <p:sldId id="5230" r:id="rId22"/>
    <p:sldId id="5241" r:id="rId23"/>
    <p:sldId id="5237" r:id="rId24"/>
    <p:sldId id="5239" r:id="rId25"/>
    <p:sldId id="5242" r:id="rId26"/>
    <p:sldId id="5243" r:id="rId27"/>
    <p:sldId id="5244" r:id="rId28"/>
    <p:sldId id="5219" r:id="rId29"/>
    <p:sldId id="5235" r:id="rId30"/>
    <p:sldId id="5238" r:id="rId31"/>
    <p:sldId id="5236" r:id="rId32"/>
    <p:sldId id="5190" r:id="rId33"/>
    <p:sldId id="5202" r:id="rId34"/>
    <p:sldId id="5240" r:id="rId35"/>
    <p:sldId id="5220" r:id="rId36"/>
    <p:sldId id="5221" r:id="rId37"/>
    <p:sldId id="5222" r:id="rId38"/>
  </p:sldIdLst>
  <p:sldSz cx="9144000" cy="5143500" type="screen16x9"/>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760" userDrawn="1">
          <p15:clr>
            <a:srgbClr val="A4A3A4"/>
          </p15:clr>
        </p15:guide>
        <p15:guide id="3" orient="horz" pos="17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 id="3" name="Liliane Meijnen" initials="LM" lastIdx="19" clrIdx="2">
    <p:extLst>
      <p:ext uri="{19B8F6BF-5375-455C-9EA6-DF929625EA0E}">
        <p15:presenceInfo xmlns:p15="http://schemas.microsoft.com/office/powerpoint/2012/main" userId="Liliane Meijn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278014-EF2D-4EFA-BB0B-13FD7A0C5A57}" v="83" dt="2024-01-18T12:58:17.136"/>
  </p1510:revLst>
</p1510:revInfo>
</file>

<file path=ppt/tableStyles.xml><?xml version="1.0" encoding="utf-8"?>
<a:tblStyleLst xmlns:a="http://schemas.openxmlformats.org/drawingml/2006/main" def="{BFEA419B-BCDB-4C27-8AB2-1E94C2BD932B}">
  <a:tblStyle styleId="{BFEA419B-BCDB-4C27-8AB2-1E94C2BD932B}" styleName="Elsevier light">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FEA419B-BCDB-4C27-8AB2-1E94C2BD932C}" styleName="Elsevier dark">
    <a:wholeTbl>
      <a:tcTxStyle>
        <a:fontRef idx="minor">
          <a:prstClr val="white"/>
        </a:fontRef>
        <a:schemeClr val="lt1"/>
      </a:tcTxStyle>
      <a:tcStyle>
        <a:tcBdr>
          <a:left>
            <a:ln w="0" cmpd="sng">
              <a:solidFill>
                <a:srgbClr val="2E2E2E"/>
              </a:solidFill>
            </a:ln>
          </a:left>
          <a:right>
            <a:ln w="0" cmpd="sng">
              <a:solidFill>
                <a:srgbClr val="2E2E2E"/>
              </a:solidFill>
            </a:ln>
          </a:right>
          <a:top>
            <a:ln w="0" cmpd="sng">
              <a:solidFill>
                <a:srgbClr val="2E2E2E"/>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rgbClr val="2E2E2E"/>
          </a:solidFill>
        </a:fill>
      </a:tcStyle>
    </a:wholeTbl>
    <a:band1H>
      <a:tcStyle>
        <a:tcBdr/>
        <a:fill>
          <a:solidFill>
            <a:srgbClr val="2E2E2E"/>
          </a:solidFill>
        </a:fill>
      </a:tcStyle>
    </a:band1H>
    <a:band2H>
      <a:tcStyle>
        <a:tcBdr/>
      </a:tcStyle>
    </a:band2H>
    <a:band1V>
      <a:tcStyle>
        <a:tcBdr/>
        <a:fill>
          <a:solidFill>
            <a:srgbClr val="53565A"/>
          </a:solidFill>
        </a:fill>
      </a:tcStyle>
    </a:band1V>
    <a:band2V>
      <a:tcStyle>
        <a:tcBdr/>
      </a:tcStyle>
    </a:band2V>
    <a:lastCol>
      <a:tcTxStyle b="on">
        <a:fontRef idx="minor">
          <a:prstClr val="white"/>
        </a:fontRef>
        <a:schemeClr val="lt1"/>
      </a:tcTxStyle>
      <a:tcStyle>
        <a:tcBdr/>
        <a:fill>
          <a:solidFill>
            <a:srgbClr val="3C3C3C"/>
          </a:solidFill>
        </a:fill>
      </a:tcStyle>
    </a:lastCol>
    <a:firstCol>
      <a:tcTxStyle b="on">
        <a:fontRef idx="minor">
          <a:prstClr val="white"/>
        </a:fontRef>
        <a:schemeClr val="lt1"/>
      </a:tcTxStyle>
      <a:tcStyle>
        <a:tcBdr/>
        <a:fill>
          <a:solidFill>
            <a:srgbClr val="3C3C3C"/>
          </a:solidFill>
        </a:fill>
      </a:tcStyle>
    </a:firstCol>
    <a:lastRow>
      <a:tcTxStyle b="on">
        <a:fontRef idx="minor">
          <a:prstClr val="white"/>
        </a:fontRef>
        <a:schemeClr val="lt1"/>
      </a:tcTxStyle>
      <a:tcStyle>
        <a:tcBdr>
          <a:top>
            <a:ln w="12700" cmpd="sng">
              <a:solidFill>
                <a:srgbClr val="2E2E2E"/>
              </a:solidFill>
            </a:ln>
          </a:top>
        </a:tcBdr>
        <a:fill>
          <a:solidFill>
            <a:srgbClr val="3C3C3C"/>
          </a:solidFill>
        </a:fill>
      </a:tcStyle>
    </a:lastRow>
    <a:firstRow>
      <a:tcTxStyle b="on">
        <a:fontRef idx="minor">
          <a:prstClr val="white"/>
        </a:fontRef>
        <a:schemeClr val="lt1"/>
      </a:tcTxStyle>
      <a:tcStyle>
        <a:tcBdr>
          <a:bottom>
            <a:ln w="12700" cmpd="sng">
              <a:solidFill>
                <a:srgbClr val="FF6C00"/>
              </a:solidFill>
            </a:ln>
          </a:bottom>
        </a:tcBdr>
        <a:fill>
          <a:solidFill>
            <a:srgbClr val="2E2E2E"/>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3257" autoAdjust="0"/>
  </p:normalViewPr>
  <p:slideViewPr>
    <p:cSldViewPr snapToGrid="0" showGuides="1">
      <p:cViewPr varScale="1">
        <p:scale>
          <a:sx n="61" d="100"/>
          <a:sy n="61" d="100"/>
        </p:scale>
        <p:origin x="1392" y="48"/>
      </p:cViewPr>
      <p:guideLst>
        <p:guide pos="5760"/>
        <p:guide orient="horz" pos="172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15230"/>
    </p:cViewPr>
  </p:sorterViewPr>
  <p:notesViewPr>
    <p:cSldViewPr snapToGrid="0">
      <p:cViewPr varScale="1">
        <p:scale>
          <a:sx n="69" d="100"/>
          <a:sy n="69" d="100"/>
        </p:scale>
        <p:origin x="2851" y="6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notesMaster" Target="notesMasters/notesMaster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commentAuthors" Target="commentAuthors.xml"/><Relationship Id="rId47"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lati, Natasha (ELS-KUL)" userId="36d5fe54-f594-457f-afe5-125c06205e2f" providerId="ADAL" clId="{31278014-EF2D-4EFA-BB0B-13FD7A0C5A57}"/>
    <pc:docChg chg="undo redo custSel addSld delSld modSld sldOrd">
      <pc:chgData name="Gulati, Natasha (ELS-KUL)" userId="36d5fe54-f594-457f-afe5-125c06205e2f" providerId="ADAL" clId="{31278014-EF2D-4EFA-BB0B-13FD7A0C5A57}" dt="2024-01-18T13:07:13.914" v="6340" actId="1076"/>
      <pc:docMkLst>
        <pc:docMk/>
      </pc:docMkLst>
      <pc:sldChg chg="addSp delSp del mod">
        <pc:chgData name="Gulati, Natasha (ELS-KUL)" userId="36d5fe54-f594-457f-afe5-125c06205e2f" providerId="ADAL" clId="{31278014-EF2D-4EFA-BB0B-13FD7A0C5A57}" dt="2024-01-18T12:59:00.638" v="6300" actId="47"/>
        <pc:sldMkLst>
          <pc:docMk/>
          <pc:sldMk cId="1779097153" sldId="307"/>
        </pc:sldMkLst>
        <pc:spChg chg="add del">
          <ac:chgData name="Gulati, Natasha (ELS-KUL)" userId="36d5fe54-f594-457f-afe5-125c06205e2f" providerId="ADAL" clId="{31278014-EF2D-4EFA-BB0B-13FD7A0C5A57}" dt="2024-01-15T15:56:08.848" v="6003" actId="478"/>
          <ac:spMkLst>
            <pc:docMk/>
            <pc:sldMk cId="1779097153" sldId="307"/>
            <ac:spMk id="3" creationId="{47A700FC-14DF-20D5-4489-5BB894F7BF7B}"/>
          </ac:spMkLst>
        </pc:spChg>
      </pc:sldChg>
      <pc:sldChg chg="modSp mod">
        <pc:chgData name="Gulati, Natasha (ELS-KUL)" userId="36d5fe54-f594-457f-afe5-125c06205e2f" providerId="ADAL" clId="{31278014-EF2D-4EFA-BB0B-13FD7A0C5A57}" dt="2024-01-13T08:48:44.220" v="46" actId="20577"/>
        <pc:sldMkLst>
          <pc:docMk/>
          <pc:sldMk cId="637582833" sldId="5002"/>
        </pc:sldMkLst>
        <pc:spChg chg="mod">
          <ac:chgData name="Gulati, Natasha (ELS-KUL)" userId="36d5fe54-f594-457f-afe5-125c06205e2f" providerId="ADAL" clId="{31278014-EF2D-4EFA-BB0B-13FD7A0C5A57}" dt="2024-01-13T08:48:27.798" v="18" actId="20577"/>
          <ac:spMkLst>
            <pc:docMk/>
            <pc:sldMk cId="637582833" sldId="5002"/>
            <ac:spMk id="2" creationId="{A546164F-14D7-4C97-AFFF-0E08E038243D}"/>
          </ac:spMkLst>
        </pc:spChg>
        <pc:spChg chg="mod">
          <ac:chgData name="Gulati, Natasha (ELS-KUL)" userId="36d5fe54-f594-457f-afe5-125c06205e2f" providerId="ADAL" clId="{31278014-EF2D-4EFA-BB0B-13FD7A0C5A57}" dt="2024-01-13T08:48:44.220" v="46" actId="20577"/>
          <ac:spMkLst>
            <pc:docMk/>
            <pc:sldMk cId="637582833" sldId="5002"/>
            <ac:spMk id="4" creationId="{26FD8347-4804-47F1-98FB-1E11456E58E5}"/>
          </ac:spMkLst>
        </pc:spChg>
        <pc:spChg chg="mod">
          <ac:chgData name="Gulati, Natasha (ELS-KUL)" userId="36d5fe54-f594-457f-afe5-125c06205e2f" providerId="ADAL" clId="{31278014-EF2D-4EFA-BB0B-13FD7A0C5A57}" dt="2024-01-13T08:48:38.378" v="34" actId="13926"/>
          <ac:spMkLst>
            <pc:docMk/>
            <pc:sldMk cId="637582833" sldId="5002"/>
            <ac:spMk id="9" creationId="{1A9378B2-982B-4C37-BEC6-9E2229210620}"/>
          </ac:spMkLst>
        </pc:spChg>
      </pc:sldChg>
      <pc:sldChg chg="modSp mod">
        <pc:chgData name="Gulati, Natasha (ELS-KUL)" userId="36d5fe54-f594-457f-afe5-125c06205e2f" providerId="ADAL" clId="{31278014-EF2D-4EFA-BB0B-13FD7A0C5A57}" dt="2024-01-17T13:12:05.196" v="6143" actId="20577"/>
        <pc:sldMkLst>
          <pc:docMk/>
          <pc:sldMk cId="970408116" sldId="5190"/>
        </pc:sldMkLst>
        <pc:spChg chg="mod">
          <ac:chgData name="Gulati, Natasha (ELS-KUL)" userId="36d5fe54-f594-457f-afe5-125c06205e2f" providerId="ADAL" clId="{31278014-EF2D-4EFA-BB0B-13FD7A0C5A57}" dt="2024-01-17T13:12:05.196" v="6143" actId="20577"/>
          <ac:spMkLst>
            <pc:docMk/>
            <pc:sldMk cId="970408116" sldId="5190"/>
            <ac:spMk id="2" creationId="{CA4A672F-B80E-FF43-E1F8-C160F2F4386A}"/>
          </ac:spMkLst>
        </pc:spChg>
      </pc:sldChg>
      <pc:sldChg chg="delSp modSp mod">
        <pc:chgData name="Gulati, Natasha (ELS-KUL)" userId="36d5fe54-f594-457f-afe5-125c06205e2f" providerId="ADAL" clId="{31278014-EF2D-4EFA-BB0B-13FD7A0C5A57}" dt="2024-01-14T07:28:56.905" v="1447" actId="20577"/>
        <pc:sldMkLst>
          <pc:docMk/>
          <pc:sldMk cId="714402094" sldId="5191"/>
        </pc:sldMkLst>
        <pc:spChg chg="mod">
          <ac:chgData name="Gulati, Natasha (ELS-KUL)" userId="36d5fe54-f594-457f-afe5-125c06205e2f" providerId="ADAL" clId="{31278014-EF2D-4EFA-BB0B-13FD7A0C5A57}" dt="2024-01-14T07:28:56.905" v="1447" actId="20577"/>
          <ac:spMkLst>
            <pc:docMk/>
            <pc:sldMk cId="714402094" sldId="5191"/>
            <ac:spMk id="2" creationId="{AD90C21C-AFE3-64CE-2029-8B4F7B7347A5}"/>
          </ac:spMkLst>
        </pc:spChg>
        <pc:spChg chg="mod">
          <ac:chgData name="Gulati, Natasha (ELS-KUL)" userId="36d5fe54-f594-457f-afe5-125c06205e2f" providerId="ADAL" clId="{31278014-EF2D-4EFA-BB0B-13FD7A0C5A57}" dt="2024-01-14T07:24:26.299" v="1200" actId="20577"/>
          <ac:spMkLst>
            <pc:docMk/>
            <pc:sldMk cId="714402094" sldId="5191"/>
            <ac:spMk id="3" creationId="{B69F5AF4-6741-8C5D-13FF-F8153905C4D1}"/>
          </ac:spMkLst>
        </pc:spChg>
        <pc:spChg chg="del">
          <ac:chgData name="Gulati, Natasha (ELS-KUL)" userId="36d5fe54-f594-457f-afe5-125c06205e2f" providerId="ADAL" clId="{31278014-EF2D-4EFA-BB0B-13FD7A0C5A57}" dt="2024-01-14T07:25:02.892" v="1247" actId="478"/>
          <ac:spMkLst>
            <pc:docMk/>
            <pc:sldMk cId="714402094" sldId="5191"/>
            <ac:spMk id="4" creationId="{AFCB7D2B-426B-7A22-7CFD-5D331772539C}"/>
          </ac:spMkLst>
        </pc:spChg>
        <pc:picChg chg="del">
          <ac:chgData name="Gulati, Natasha (ELS-KUL)" userId="36d5fe54-f594-457f-afe5-125c06205e2f" providerId="ADAL" clId="{31278014-EF2D-4EFA-BB0B-13FD7A0C5A57}" dt="2024-01-14T07:24:59.470" v="1246" actId="478"/>
          <ac:picMkLst>
            <pc:docMk/>
            <pc:sldMk cId="714402094" sldId="5191"/>
            <ac:picMk id="6" creationId="{5BDCA80D-9B89-CE8B-5548-AE2C976C909D}"/>
          </ac:picMkLst>
        </pc:picChg>
      </pc:sldChg>
      <pc:sldChg chg="del">
        <pc:chgData name="Gulati, Natasha (ELS-KUL)" userId="36d5fe54-f594-457f-afe5-125c06205e2f" providerId="ADAL" clId="{31278014-EF2D-4EFA-BB0B-13FD7A0C5A57}" dt="2024-01-14T07:53:36.063" v="1448" actId="47"/>
        <pc:sldMkLst>
          <pc:docMk/>
          <pc:sldMk cId="2243810738" sldId="5192"/>
        </pc:sldMkLst>
      </pc:sldChg>
      <pc:sldChg chg="del">
        <pc:chgData name="Gulati, Natasha (ELS-KUL)" userId="36d5fe54-f594-457f-afe5-125c06205e2f" providerId="ADAL" clId="{31278014-EF2D-4EFA-BB0B-13FD7A0C5A57}" dt="2024-01-18T12:59:07.153" v="6302" actId="47"/>
        <pc:sldMkLst>
          <pc:docMk/>
          <pc:sldMk cId="2803114686" sldId="5194"/>
        </pc:sldMkLst>
      </pc:sldChg>
      <pc:sldChg chg="addSp delSp modSp mod">
        <pc:chgData name="Gulati, Natasha (ELS-KUL)" userId="36d5fe54-f594-457f-afe5-125c06205e2f" providerId="ADAL" clId="{31278014-EF2D-4EFA-BB0B-13FD7A0C5A57}" dt="2024-01-14T08:35:58.055" v="2206" actId="15"/>
        <pc:sldMkLst>
          <pc:docMk/>
          <pc:sldMk cId="989361108" sldId="5195"/>
        </pc:sldMkLst>
        <pc:spChg chg="mod">
          <ac:chgData name="Gulati, Natasha (ELS-KUL)" userId="36d5fe54-f594-457f-afe5-125c06205e2f" providerId="ADAL" clId="{31278014-EF2D-4EFA-BB0B-13FD7A0C5A57}" dt="2024-01-14T08:00:07.193" v="1473" actId="20577"/>
          <ac:spMkLst>
            <pc:docMk/>
            <pc:sldMk cId="989361108" sldId="5195"/>
            <ac:spMk id="2" creationId="{BBEAEF97-6ACC-C242-450A-B53DEDAAD271}"/>
          </ac:spMkLst>
        </pc:spChg>
        <pc:spChg chg="mod">
          <ac:chgData name="Gulati, Natasha (ELS-KUL)" userId="36d5fe54-f594-457f-afe5-125c06205e2f" providerId="ADAL" clId="{31278014-EF2D-4EFA-BB0B-13FD7A0C5A57}" dt="2024-01-14T08:12:29.317" v="1736" actId="20577"/>
          <ac:spMkLst>
            <pc:docMk/>
            <pc:sldMk cId="989361108" sldId="5195"/>
            <ac:spMk id="3" creationId="{6B5BDD6B-3FA3-CCF1-0644-CC676AF073FC}"/>
          </ac:spMkLst>
        </pc:spChg>
        <pc:spChg chg="del">
          <ac:chgData name="Gulati, Natasha (ELS-KUL)" userId="36d5fe54-f594-457f-afe5-125c06205e2f" providerId="ADAL" clId="{31278014-EF2D-4EFA-BB0B-13FD7A0C5A57}" dt="2024-01-14T08:00:12.498" v="1475" actId="478"/>
          <ac:spMkLst>
            <pc:docMk/>
            <pc:sldMk cId="989361108" sldId="5195"/>
            <ac:spMk id="4" creationId="{0A86A3FD-94A1-1314-3AB2-2B47372E9B10}"/>
          </ac:spMkLst>
        </pc:spChg>
        <pc:spChg chg="del">
          <ac:chgData name="Gulati, Natasha (ELS-KUL)" userId="36d5fe54-f594-457f-afe5-125c06205e2f" providerId="ADAL" clId="{31278014-EF2D-4EFA-BB0B-13FD7A0C5A57}" dt="2024-01-14T08:00:15.202" v="1477" actId="478"/>
          <ac:spMkLst>
            <pc:docMk/>
            <pc:sldMk cId="989361108" sldId="5195"/>
            <ac:spMk id="7" creationId="{B366E843-D6D0-2A08-1D12-EA825AF1BC2D}"/>
          </ac:spMkLst>
        </pc:spChg>
        <pc:spChg chg="add mod">
          <ac:chgData name="Gulati, Natasha (ELS-KUL)" userId="36d5fe54-f594-457f-afe5-125c06205e2f" providerId="ADAL" clId="{31278014-EF2D-4EFA-BB0B-13FD7A0C5A57}" dt="2024-01-14T08:35:58.055" v="2206" actId="15"/>
          <ac:spMkLst>
            <pc:docMk/>
            <pc:sldMk cId="989361108" sldId="5195"/>
            <ac:spMk id="8" creationId="{AD672D07-BF26-4BEA-F688-B8D478633643}"/>
          </ac:spMkLst>
        </pc:spChg>
        <pc:picChg chg="del">
          <ac:chgData name="Gulati, Natasha (ELS-KUL)" userId="36d5fe54-f594-457f-afe5-125c06205e2f" providerId="ADAL" clId="{31278014-EF2D-4EFA-BB0B-13FD7A0C5A57}" dt="2024-01-14T08:00:09.741" v="1474" actId="478"/>
          <ac:picMkLst>
            <pc:docMk/>
            <pc:sldMk cId="989361108" sldId="5195"/>
            <ac:picMk id="5" creationId="{4470E808-0256-B557-13E1-095BE7F69862}"/>
          </ac:picMkLst>
        </pc:picChg>
        <pc:picChg chg="del">
          <ac:chgData name="Gulati, Natasha (ELS-KUL)" userId="36d5fe54-f594-457f-afe5-125c06205e2f" providerId="ADAL" clId="{31278014-EF2D-4EFA-BB0B-13FD7A0C5A57}" dt="2024-01-14T08:00:13.332" v="1476" actId="478"/>
          <ac:picMkLst>
            <pc:docMk/>
            <pc:sldMk cId="989361108" sldId="5195"/>
            <ac:picMk id="6" creationId="{3EA5E5C6-A869-BBC8-A951-CCA06D67DCEE}"/>
          </ac:picMkLst>
        </pc:picChg>
      </pc:sldChg>
      <pc:sldChg chg="addSp delSp modSp mod">
        <pc:chgData name="Gulati, Natasha (ELS-KUL)" userId="36d5fe54-f594-457f-afe5-125c06205e2f" providerId="ADAL" clId="{31278014-EF2D-4EFA-BB0B-13FD7A0C5A57}" dt="2024-01-15T15:14:25.662" v="5121" actId="20577"/>
        <pc:sldMkLst>
          <pc:docMk/>
          <pc:sldMk cId="3518243168" sldId="5196"/>
        </pc:sldMkLst>
        <pc:spChg chg="mod">
          <ac:chgData name="Gulati, Natasha (ELS-KUL)" userId="36d5fe54-f594-457f-afe5-125c06205e2f" providerId="ADAL" clId="{31278014-EF2D-4EFA-BB0B-13FD7A0C5A57}" dt="2024-01-14T08:43:53.476" v="2612" actId="20577"/>
          <ac:spMkLst>
            <pc:docMk/>
            <pc:sldMk cId="3518243168" sldId="5196"/>
            <ac:spMk id="2" creationId="{BBEAEF97-6ACC-C242-450A-B53DEDAAD271}"/>
          </ac:spMkLst>
        </pc:spChg>
        <pc:spChg chg="add mod">
          <ac:chgData name="Gulati, Natasha (ELS-KUL)" userId="36d5fe54-f594-457f-afe5-125c06205e2f" providerId="ADAL" clId="{31278014-EF2D-4EFA-BB0B-13FD7A0C5A57}" dt="2024-01-15T15:14:25.662" v="5121" actId="20577"/>
          <ac:spMkLst>
            <pc:docMk/>
            <pc:sldMk cId="3518243168" sldId="5196"/>
            <ac:spMk id="3" creationId="{9FBF65EB-41FA-C149-8065-CEF7B93F11AC}"/>
          </ac:spMkLst>
        </pc:spChg>
        <pc:spChg chg="mod">
          <ac:chgData name="Gulati, Natasha (ELS-KUL)" userId="36d5fe54-f594-457f-afe5-125c06205e2f" providerId="ADAL" clId="{31278014-EF2D-4EFA-BB0B-13FD7A0C5A57}" dt="2024-01-14T08:45:49.558" v="2677" actId="20577"/>
          <ac:spMkLst>
            <pc:docMk/>
            <pc:sldMk cId="3518243168" sldId="5196"/>
            <ac:spMk id="5" creationId="{8FC70412-C625-25EF-76D5-E6C1F0603555}"/>
          </ac:spMkLst>
        </pc:spChg>
        <pc:spChg chg="del mod">
          <ac:chgData name="Gulati, Natasha (ELS-KUL)" userId="36d5fe54-f594-457f-afe5-125c06205e2f" providerId="ADAL" clId="{31278014-EF2D-4EFA-BB0B-13FD7A0C5A57}" dt="2024-01-14T08:44:02.837" v="2616" actId="478"/>
          <ac:spMkLst>
            <pc:docMk/>
            <pc:sldMk cId="3518243168" sldId="5196"/>
            <ac:spMk id="9" creationId="{7B096746-82EE-21D2-41F8-FD62DEFEAD59}"/>
          </ac:spMkLst>
        </pc:spChg>
        <pc:spChg chg="del">
          <ac:chgData name="Gulati, Natasha (ELS-KUL)" userId="36d5fe54-f594-457f-afe5-125c06205e2f" providerId="ADAL" clId="{31278014-EF2D-4EFA-BB0B-13FD7A0C5A57}" dt="2024-01-14T08:43:58.330" v="2614" actId="478"/>
          <ac:spMkLst>
            <pc:docMk/>
            <pc:sldMk cId="3518243168" sldId="5196"/>
            <ac:spMk id="13" creationId="{DBCF7796-731D-EFAE-60D6-84DC84FDDFC3}"/>
          </ac:spMkLst>
        </pc:spChg>
        <pc:picChg chg="del">
          <ac:chgData name="Gulati, Natasha (ELS-KUL)" userId="36d5fe54-f594-457f-afe5-125c06205e2f" providerId="ADAL" clId="{31278014-EF2D-4EFA-BB0B-13FD7A0C5A57}" dt="2024-01-14T08:43:55.661" v="2613" actId="478"/>
          <ac:picMkLst>
            <pc:docMk/>
            <pc:sldMk cId="3518243168" sldId="5196"/>
            <ac:picMk id="4" creationId="{9E17DE8B-980E-A368-840E-073508C224F4}"/>
          </ac:picMkLst>
        </pc:picChg>
      </pc:sldChg>
      <pc:sldChg chg="del">
        <pc:chgData name="Gulati, Natasha (ELS-KUL)" userId="36d5fe54-f594-457f-afe5-125c06205e2f" providerId="ADAL" clId="{31278014-EF2D-4EFA-BB0B-13FD7A0C5A57}" dt="2024-01-15T15:28:12.673" v="5615" actId="47"/>
        <pc:sldMkLst>
          <pc:docMk/>
          <pc:sldMk cId="3065937544" sldId="5197"/>
        </pc:sldMkLst>
      </pc:sldChg>
      <pc:sldChg chg="del">
        <pc:chgData name="Gulati, Natasha (ELS-KUL)" userId="36d5fe54-f594-457f-afe5-125c06205e2f" providerId="ADAL" clId="{31278014-EF2D-4EFA-BB0B-13FD7A0C5A57}" dt="2024-01-18T12:59:02.856" v="6301" actId="47"/>
        <pc:sldMkLst>
          <pc:docMk/>
          <pc:sldMk cId="1550676970" sldId="5198"/>
        </pc:sldMkLst>
      </pc:sldChg>
      <pc:sldChg chg="del">
        <pc:chgData name="Gulati, Natasha (ELS-KUL)" userId="36d5fe54-f594-457f-afe5-125c06205e2f" providerId="ADAL" clId="{31278014-EF2D-4EFA-BB0B-13FD7A0C5A57}" dt="2024-01-15T15:28:14.288" v="5617" actId="47"/>
        <pc:sldMkLst>
          <pc:docMk/>
          <pc:sldMk cId="972247437" sldId="5199"/>
        </pc:sldMkLst>
      </pc:sldChg>
      <pc:sldChg chg="del">
        <pc:chgData name="Gulati, Natasha (ELS-KUL)" userId="36d5fe54-f594-457f-afe5-125c06205e2f" providerId="ADAL" clId="{31278014-EF2D-4EFA-BB0B-13FD7A0C5A57}" dt="2024-01-15T15:28:15.213" v="5618" actId="47"/>
        <pc:sldMkLst>
          <pc:docMk/>
          <pc:sldMk cId="3349722960" sldId="5200"/>
        </pc:sldMkLst>
      </pc:sldChg>
      <pc:sldChg chg="del">
        <pc:chgData name="Gulati, Natasha (ELS-KUL)" userId="36d5fe54-f594-457f-afe5-125c06205e2f" providerId="ADAL" clId="{31278014-EF2D-4EFA-BB0B-13FD7A0C5A57}" dt="2024-01-15T15:28:16.078" v="5619" actId="47"/>
        <pc:sldMkLst>
          <pc:docMk/>
          <pc:sldMk cId="691969628" sldId="5201"/>
        </pc:sldMkLst>
      </pc:sldChg>
      <pc:sldChg chg="addSp delSp modSp mod">
        <pc:chgData name="Gulati, Natasha (ELS-KUL)" userId="36d5fe54-f594-457f-afe5-125c06205e2f" providerId="ADAL" clId="{31278014-EF2D-4EFA-BB0B-13FD7A0C5A57}" dt="2024-01-15T15:52:22.955" v="5998" actId="1037"/>
        <pc:sldMkLst>
          <pc:docMk/>
          <pc:sldMk cId="4108883441" sldId="5202"/>
        </pc:sldMkLst>
        <pc:spChg chg="del">
          <ac:chgData name="Gulati, Natasha (ELS-KUL)" userId="36d5fe54-f594-457f-afe5-125c06205e2f" providerId="ADAL" clId="{31278014-EF2D-4EFA-BB0B-13FD7A0C5A57}" dt="2024-01-15T15:51:44.595" v="5975" actId="478"/>
          <ac:spMkLst>
            <pc:docMk/>
            <pc:sldMk cId="4108883441" sldId="5202"/>
            <ac:spMk id="5" creationId="{D41DFE86-C538-06E8-4154-24A335B64807}"/>
          </ac:spMkLst>
        </pc:spChg>
        <pc:spChg chg="mod">
          <ac:chgData name="Gulati, Natasha (ELS-KUL)" userId="36d5fe54-f594-457f-afe5-125c06205e2f" providerId="ADAL" clId="{31278014-EF2D-4EFA-BB0B-13FD7A0C5A57}" dt="2024-01-15T15:50:59.720" v="5972" actId="20577"/>
          <ac:spMkLst>
            <pc:docMk/>
            <pc:sldMk cId="4108883441" sldId="5202"/>
            <ac:spMk id="8" creationId="{F9D98065-DF7B-49AD-8ADA-67533AC884CC}"/>
          </ac:spMkLst>
        </pc:spChg>
        <pc:spChg chg="mod">
          <ac:chgData name="Gulati, Natasha (ELS-KUL)" userId="36d5fe54-f594-457f-afe5-125c06205e2f" providerId="ADAL" clId="{31278014-EF2D-4EFA-BB0B-13FD7A0C5A57}" dt="2024-01-15T15:52:22.955" v="5998" actId="1037"/>
          <ac:spMkLst>
            <pc:docMk/>
            <pc:sldMk cId="4108883441" sldId="5202"/>
            <ac:spMk id="11" creationId="{2A5023F8-E83D-8F12-C996-AF41C2358BDE}"/>
          </ac:spMkLst>
        </pc:spChg>
        <pc:spChg chg="mod">
          <ac:chgData name="Gulati, Natasha (ELS-KUL)" userId="36d5fe54-f594-457f-afe5-125c06205e2f" providerId="ADAL" clId="{31278014-EF2D-4EFA-BB0B-13FD7A0C5A57}" dt="2024-01-15T15:52:22.955" v="5998" actId="1037"/>
          <ac:spMkLst>
            <pc:docMk/>
            <pc:sldMk cId="4108883441" sldId="5202"/>
            <ac:spMk id="12" creationId="{7F334C4D-4B4D-35C1-C448-5FD80928E558}"/>
          </ac:spMkLst>
        </pc:spChg>
        <pc:picChg chg="del">
          <ac:chgData name="Gulati, Natasha (ELS-KUL)" userId="36d5fe54-f594-457f-afe5-125c06205e2f" providerId="ADAL" clId="{31278014-EF2D-4EFA-BB0B-13FD7A0C5A57}" dt="2024-01-15T15:51:02.054" v="5973" actId="478"/>
          <ac:picMkLst>
            <pc:docMk/>
            <pc:sldMk cId="4108883441" sldId="5202"/>
            <ac:picMk id="3" creationId="{AD084325-1FD5-4CA9-7E08-B6D57D65F502}"/>
          </ac:picMkLst>
        </pc:picChg>
        <pc:picChg chg="add mod ord">
          <ac:chgData name="Gulati, Natasha (ELS-KUL)" userId="36d5fe54-f594-457f-afe5-125c06205e2f" providerId="ADAL" clId="{31278014-EF2D-4EFA-BB0B-13FD7A0C5A57}" dt="2024-01-15T15:51:54.669" v="5978" actId="167"/>
          <ac:picMkLst>
            <pc:docMk/>
            <pc:sldMk cId="4108883441" sldId="5202"/>
            <ac:picMk id="4" creationId="{5775BB80-7219-F452-4688-3B2183BFE029}"/>
          </ac:picMkLst>
        </pc:picChg>
      </pc:sldChg>
      <pc:sldChg chg="del">
        <pc:chgData name="Gulati, Natasha (ELS-KUL)" userId="36d5fe54-f594-457f-afe5-125c06205e2f" providerId="ADAL" clId="{31278014-EF2D-4EFA-BB0B-13FD7A0C5A57}" dt="2024-01-15T15:28:17.498" v="5620" actId="47"/>
        <pc:sldMkLst>
          <pc:docMk/>
          <pc:sldMk cId="1888837282" sldId="5203"/>
        </pc:sldMkLst>
      </pc:sldChg>
      <pc:sldChg chg="del">
        <pc:chgData name="Gulati, Natasha (ELS-KUL)" userId="36d5fe54-f594-457f-afe5-125c06205e2f" providerId="ADAL" clId="{31278014-EF2D-4EFA-BB0B-13FD7A0C5A57}" dt="2024-01-15T15:28:20.612" v="5621" actId="47"/>
        <pc:sldMkLst>
          <pc:docMk/>
          <pc:sldMk cId="1040765444" sldId="5204"/>
        </pc:sldMkLst>
      </pc:sldChg>
      <pc:sldChg chg="del">
        <pc:chgData name="Gulati, Natasha (ELS-KUL)" userId="36d5fe54-f594-457f-afe5-125c06205e2f" providerId="ADAL" clId="{31278014-EF2D-4EFA-BB0B-13FD7A0C5A57}" dt="2024-01-15T15:28:26.467" v="5625" actId="47"/>
        <pc:sldMkLst>
          <pc:docMk/>
          <pc:sldMk cId="3772106757" sldId="5205"/>
        </pc:sldMkLst>
      </pc:sldChg>
      <pc:sldChg chg="del">
        <pc:chgData name="Gulati, Natasha (ELS-KUL)" userId="36d5fe54-f594-457f-afe5-125c06205e2f" providerId="ADAL" clId="{31278014-EF2D-4EFA-BB0B-13FD7A0C5A57}" dt="2024-01-15T15:28:27.299" v="5626" actId="47"/>
        <pc:sldMkLst>
          <pc:docMk/>
          <pc:sldMk cId="3654593273" sldId="5206"/>
        </pc:sldMkLst>
      </pc:sldChg>
      <pc:sldChg chg="del">
        <pc:chgData name="Gulati, Natasha (ELS-KUL)" userId="36d5fe54-f594-457f-afe5-125c06205e2f" providerId="ADAL" clId="{31278014-EF2D-4EFA-BB0B-13FD7A0C5A57}" dt="2024-01-15T15:28:21.617" v="5622" actId="47"/>
        <pc:sldMkLst>
          <pc:docMk/>
          <pc:sldMk cId="3598459337" sldId="5207"/>
        </pc:sldMkLst>
      </pc:sldChg>
      <pc:sldChg chg="del">
        <pc:chgData name="Gulati, Natasha (ELS-KUL)" userId="36d5fe54-f594-457f-afe5-125c06205e2f" providerId="ADAL" clId="{31278014-EF2D-4EFA-BB0B-13FD7A0C5A57}" dt="2024-01-15T15:28:25.400" v="5624" actId="47"/>
        <pc:sldMkLst>
          <pc:docMk/>
          <pc:sldMk cId="3197305274" sldId="5208"/>
        </pc:sldMkLst>
      </pc:sldChg>
      <pc:sldChg chg="del">
        <pc:chgData name="Gulati, Natasha (ELS-KUL)" userId="36d5fe54-f594-457f-afe5-125c06205e2f" providerId="ADAL" clId="{31278014-EF2D-4EFA-BB0B-13FD7A0C5A57}" dt="2024-01-15T15:28:27.978" v="5627" actId="47"/>
        <pc:sldMkLst>
          <pc:docMk/>
          <pc:sldMk cId="831181316" sldId="5209"/>
        </pc:sldMkLst>
      </pc:sldChg>
      <pc:sldChg chg="del">
        <pc:chgData name="Gulati, Natasha (ELS-KUL)" userId="36d5fe54-f594-457f-afe5-125c06205e2f" providerId="ADAL" clId="{31278014-EF2D-4EFA-BB0B-13FD7A0C5A57}" dt="2024-01-15T15:28:29.200" v="5628" actId="47"/>
        <pc:sldMkLst>
          <pc:docMk/>
          <pc:sldMk cId="1758501320" sldId="5210"/>
        </pc:sldMkLst>
      </pc:sldChg>
      <pc:sldChg chg="del">
        <pc:chgData name="Gulati, Natasha (ELS-KUL)" userId="36d5fe54-f594-457f-afe5-125c06205e2f" providerId="ADAL" clId="{31278014-EF2D-4EFA-BB0B-13FD7A0C5A57}" dt="2024-01-15T15:28:13.324" v="5616" actId="47"/>
        <pc:sldMkLst>
          <pc:docMk/>
          <pc:sldMk cId="2131595721" sldId="5211"/>
        </pc:sldMkLst>
      </pc:sldChg>
      <pc:sldChg chg="del">
        <pc:chgData name="Gulati, Natasha (ELS-KUL)" userId="36d5fe54-f594-457f-afe5-125c06205e2f" providerId="ADAL" clId="{31278014-EF2D-4EFA-BB0B-13FD7A0C5A57}" dt="2024-01-15T15:28:23.704" v="5623" actId="47"/>
        <pc:sldMkLst>
          <pc:docMk/>
          <pc:sldMk cId="1433074768" sldId="5212"/>
        </pc:sldMkLst>
      </pc:sldChg>
      <pc:sldChg chg="del">
        <pc:chgData name="Gulati, Natasha (ELS-KUL)" userId="36d5fe54-f594-457f-afe5-125c06205e2f" providerId="ADAL" clId="{31278014-EF2D-4EFA-BB0B-13FD7A0C5A57}" dt="2024-01-15T15:28:34.240" v="5629" actId="47"/>
        <pc:sldMkLst>
          <pc:docMk/>
          <pc:sldMk cId="760077754" sldId="5213"/>
        </pc:sldMkLst>
      </pc:sldChg>
      <pc:sldChg chg="del">
        <pc:chgData name="Gulati, Natasha (ELS-KUL)" userId="36d5fe54-f594-457f-afe5-125c06205e2f" providerId="ADAL" clId="{31278014-EF2D-4EFA-BB0B-13FD7A0C5A57}" dt="2024-01-15T15:28:36.501" v="5630" actId="47"/>
        <pc:sldMkLst>
          <pc:docMk/>
          <pc:sldMk cId="3411562101" sldId="5214"/>
        </pc:sldMkLst>
      </pc:sldChg>
      <pc:sldChg chg="del">
        <pc:chgData name="Gulati, Natasha (ELS-KUL)" userId="36d5fe54-f594-457f-afe5-125c06205e2f" providerId="ADAL" clId="{31278014-EF2D-4EFA-BB0B-13FD7A0C5A57}" dt="2024-01-15T15:28:37.398" v="5631" actId="47"/>
        <pc:sldMkLst>
          <pc:docMk/>
          <pc:sldMk cId="2519582126" sldId="5215"/>
        </pc:sldMkLst>
      </pc:sldChg>
      <pc:sldChg chg="del">
        <pc:chgData name="Gulati, Natasha (ELS-KUL)" userId="36d5fe54-f594-457f-afe5-125c06205e2f" providerId="ADAL" clId="{31278014-EF2D-4EFA-BB0B-13FD7A0C5A57}" dt="2024-01-15T15:28:38.259" v="5632" actId="47"/>
        <pc:sldMkLst>
          <pc:docMk/>
          <pc:sldMk cId="1635013898" sldId="5216"/>
        </pc:sldMkLst>
      </pc:sldChg>
      <pc:sldChg chg="del">
        <pc:chgData name="Gulati, Natasha (ELS-KUL)" userId="36d5fe54-f594-457f-afe5-125c06205e2f" providerId="ADAL" clId="{31278014-EF2D-4EFA-BB0B-13FD7A0C5A57}" dt="2024-01-15T15:28:39.901" v="5634" actId="47"/>
        <pc:sldMkLst>
          <pc:docMk/>
          <pc:sldMk cId="202069331" sldId="5217"/>
        </pc:sldMkLst>
      </pc:sldChg>
      <pc:sldChg chg="del">
        <pc:chgData name="Gulati, Natasha (ELS-KUL)" userId="36d5fe54-f594-457f-afe5-125c06205e2f" providerId="ADAL" clId="{31278014-EF2D-4EFA-BB0B-13FD7A0C5A57}" dt="2024-01-15T15:28:39.028" v="5633" actId="47"/>
        <pc:sldMkLst>
          <pc:docMk/>
          <pc:sldMk cId="2945455769" sldId="5218"/>
        </pc:sldMkLst>
      </pc:sldChg>
      <pc:sldChg chg="modSp mod">
        <pc:chgData name="Gulati, Natasha (ELS-KUL)" userId="36d5fe54-f594-457f-afe5-125c06205e2f" providerId="ADAL" clId="{31278014-EF2D-4EFA-BB0B-13FD7A0C5A57}" dt="2024-01-18T12:58:03.227" v="6299" actId="20577"/>
        <pc:sldMkLst>
          <pc:docMk/>
          <pc:sldMk cId="285149607" sldId="5219"/>
        </pc:sldMkLst>
        <pc:spChg chg="mod">
          <ac:chgData name="Gulati, Natasha (ELS-KUL)" userId="36d5fe54-f594-457f-afe5-125c06205e2f" providerId="ADAL" clId="{31278014-EF2D-4EFA-BB0B-13FD7A0C5A57}" dt="2024-01-18T12:54:04.137" v="6282" actId="6549"/>
          <ac:spMkLst>
            <pc:docMk/>
            <pc:sldMk cId="285149607" sldId="5219"/>
            <ac:spMk id="2" creationId="{4154695E-B0B9-81A8-6E29-506C94929F6D}"/>
          </ac:spMkLst>
        </pc:spChg>
        <pc:spChg chg="mod">
          <ac:chgData name="Gulati, Natasha (ELS-KUL)" userId="36d5fe54-f594-457f-afe5-125c06205e2f" providerId="ADAL" clId="{31278014-EF2D-4EFA-BB0B-13FD7A0C5A57}" dt="2024-01-18T12:58:03.227" v="6299" actId="20577"/>
          <ac:spMkLst>
            <pc:docMk/>
            <pc:sldMk cId="285149607" sldId="5219"/>
            <ac:spMk id="8" creationId="{8165D510-0678-BF91-EA7F-187EC9B9229B}"/>
          </ac:spMkLst>
        </pc:spChg>
      </pc:sldChg>
      <pc:sldChg chg="addSp delSp modSp mod">
        <pc:chgData name="Gulati, Natasha (ELS-KUL)" userId="36d5fe54-f594-457f-afe5-125c06205e2f" providerId="ADAL" clId="{31278014-EF2D-4EFA-BB0B-13FD7A0C5A57}" dt="2024-01-18T13:02:10.301" v="6331" actId="1076"/>
        <pc:sldMkLst>
          <pc:docMk/>
          <pc:sldMk cId="1261036543" sldId="5221"/>
        </pc:sldMkLst>
        <pc:spChg chg="mod">
          <ac:chgData name="Gulati, Natasha (ELS-KUL)" userId="36d5fe54-f594-457f-afe5-125c06205e2f" providerId="ADAL" clId="{31278014-EF2D-4EFA-BB0B-13FD7A0C5A57}" dt="2024-01-18T13:00:18.224" v="6316" actId="20577"/>
          <ac:spMkLst>
            <pc:docMk/>
            <pc:sldMk cId="1261036543" sldId="5221"/>
            <ac:spMk id="2" creationId="{4154695E-B0B9-81A8-6E29-506C94929F6D}"/>
          </ac:spMkLst>
        </pc:spChg>
        <pc:spChg chg="mod">
          <ac:chgData name="Gulati, Natasha (ELS-KUL)" userId="36d5fe54-f594-457f-afe5-125c06205e2f" providerId="ADAL" clId="{31278014-EF2D-4EFA-BB0B-13FD7A0C5A57}" dt="2024-01-18T13:00:11.894" v="6303"/>
          <ac:spMkLst>
            <pc:docMk/>
            <pc:sldMk cId="1261036543" sldId="5221"/>
            <ac:spMk id="8" creationId="{8165D510-0678-BF91-EA7F-187EC9B9229B}"/>
          </ac:spMkLst>
        </pc:spChg>
        <pc:picChg chg="del">
          <ac:chgData name="Gulati, Natasha (ELS-KUL)" userId="36d5fe54-f594-457f-afe5-125c06205e2f" providerId="ADAL" clId="{31278014-EF2D-4EFA-BB0B-13FD7A0C5A57}" dt="2024-01-18T13:02:00.851" v="6327" actId="478"/>
          <ac:picMkLst>
            <pc:docMk/>
            <pc:sldMk cId="1261036543" sldId="5221"/>
            <ac:picMk id="5" creationId="{B01361F4-96F6-5157-7483-434302DABCB1}"/>
          </ac:picMkLst>
        </pc:picChg>
        <pc:picChg chg="del mod">
          <ac:chgData name="Gulati, Natasha (ELS-KUL)" userId="36d5fe54-f594-457f-afe5-125c06205e2f" providerId="ADAL" clId="{31278014-EF2D-4EFA-BB0B-13FD7A0C5A57}" dt="2024-01-18T13:01:31.552" v="6323" actId="478"/>
          <ac:picMkLst>
            <pc:docMk/>
            <pc:sldMk cId="1261036543" sldId="5221"/>
            <ac:picMk id="6" creationId="{D427B7FB-0A12-9045-652E-28A6DD1A44FA}"/>
          </ac:picMkLst>
        </pc:picChg>
        <pc:picChg chg="del">
          <ac:chgData name="Gulati, Natasha (ELS-KUL)" userId="36d5fe54-f594-457f-afe5-125c06205e2f" providerId="ADAL" clId="{31278014-EF2D-4EFA-BB0B-13FD7A0C5A57}" dt="2024-01-18T13:00:24.535" v="6317" actId="478"/>
          <ac:picMkLst>
            <pc:docMk/>
            <pc:sldMk cId="1261036543" sldId="5221"/>
            <ac:picMk id="7" creationId="{9BEE37F8-E1C6-7F05-004C-EFA0F9B3DDA6}"/>
          </ac:picMkLst>
        </pc:picChg>
        <pc:picChg chg="add mod">
          <ac:chgData name="Gulati, Natasha (ELS-KUL)" userId="36d5fe54-f594-457f-afe5-125c06205e2f" providerId="ADAL" clId="{31278014-EF2D-4EFA-BB0B-13FD7A0C5A57}" dt="2024-01-18T13:00:58.289" v="6319" actId="1076"/>
          <ac:picMkLst>
            <pc:docMk/>
            <pc:sldMk cId="1261036543" sldId="5221"/>
            <ac:picMk id="9" creationId="{AFFAF98A-C260-CDE5-EE8E-E42C0C9E185A}"/>
          </ac:picMkLst>
        </pc:picChg>
        <pc:picChg chg="add mod">
          <ac:chgData name="Gulati, Natasha (ELS-KUL)" userId="36d5fe54-f594-457f-afe5-125c06205e2f" providerId="ADAL" clId="{31278014-EF2D-4EFA-BB0B-13FD7A0C5A57}" dt="2024-01-18T13:01:40.617" v="6326" actId="1076"/>
          <ac:picMkLst>
            <pc:docMk/>
            <pc:sldMk cId="1261036543" sldId="5221"/>
            <ac:picMk id="11" creationId="{C79354F5-89F5-88A7-67E9-DDA9FBB094F5}"/>
          </ac:picMkLst>
        </pc:picChg>
        <pc:picChg chg="add mod">
          <ac:chgData name="Gulati, Natasha (ELS-KUL)" userId="36d5fe54-f594-457f-afe5-125c06205e2f" providerId="ADAL" clId="{31278014-EF2D-4EFA-BB0B-13FD7A0C5A57}" dt="2024-01-18T13:02:10.301" v="6331" actId="1076"/>
          <ac:picMkLst>
            <pc:docMk/>
            <pc:sldMk cId="1261036543" sldId="5221"/>
            <ac:picMk id="13" creationId="{144A7240-347A-8649-4059-9DE99CED2ED2}"/>
          </ac:picMkLst>
        </pc:picChg>
      </pc:sldChg>
      <pc:sldChg chg="addSp delSp modSp mod">
        <pc:chgData name="Gulati, Natasha (ELS-KUL)" userId="36d5fe54-f594-457f-afe5-125c06205e2f" providerId="ADAL" clId="{31278014-EF2D-4EFA-BB0B-13FD7A0C5A57}" dt="2024-01-18T13:07:13.914" v="6340" actId="1076"/>
        <pc:sldMkLst>
          <pc:docMk/>
          <pc:sldMk cId="3279389762" sldId="5222"/>
        </pc:sldMkLst>
        <pc:spChg chg="mod">
          <ac:chgData name="Gulati, Natasha (ELS-KUL)" userId="36d5fe54-f594-457f-afe5-125c06205e2f" providerId="ADAL" clId="{31278014-EF2D-4EFA-BB0B-13FD7A0C5A57}" dt="2024-01-18T13:02:28.456" v="6332"/>
          <ac:spMkLst>
            <pc:docMk/>
            <pc:sldMk cId="3279389762" sldId="5222"/>
            <ac:spMk id="8" creationId="{8165D510-0678-BF91-EA7F-187EC9B9229B}"/>
          </ac:spMkLst>
        </pc:spChg>
        <pc:picChg chg="del">
          <ac:chgData name="Gulati, Natasha (ELS-KUL)" userId="36d5fe54-f594-457f-afe5-125c06205e2f" providerId="ADAL" clId="{31278014-EF2D-4EFA-BB0B-13FD7A0C5A57}" dt="2024-01-18T13:02:31.691" v="6334" actId="478"/>
          <ac:picMkLst>
            <pc:docMk/>
            <pc:sldMk cId="3279389762" sldId="5222"/>
            <ac:picMk id="5" creationId="{D0B65FDE-ED59-1D72-25A5-393A8D4AC70E}"/>
          </ac:picMkLst>
        </pc:picChg>
        <pc:picChg chg="add mod">
          <ac:chgData name="Gulati, Natasha (ELS-KUL)" userId="36d5fe54-f594-457f-afe5-125c06205e2f" providerId="ADAL" clId="{31278014-EF2D-4EFA-BB0B-13FD7A0C5A57}" dt="2024-01-18T13:06:27.167" v="6336" actId="1076"/>
          <ac:picMkLst>
            <pc:docMk/>
            <pc:sldMk cId="3279389762" sldId="5222"/>
            <ac:picMk id="6" creationId="{0F93D444-2A68-631E-CE38-80D31094DAA1}"/>
          </ac:picMkLst>
        </pc:picChg>
        <pc:picChg chg="del">
          <ac:chgData name="Gulati, Natasha (ELS-KUL)" userId="36d5fe54-f594-457f-afe5-125c06205e2f" providerId="ADAL" clId="{31278014-EF2D-4EFA-BB0B-13FD7A0C5A57}" dt="2024-01-18T13:02:30.970" v="6333" actId="478"/>
          <ac:picMkLst>
            <pc:docMk/>
            <pc:sldMk cId="3279389762" sldId="5222"/>
            <ac:picMk id="7" creationId="{17679516-27F5-41AF-5F6D-D3EAF26234E3}"/>
          </ac:picMkLst>
        </pc:picChg>
        <pc:picChg chg="add mod">
          <ac:chgData name="Gulati, Natasha (ELS-KUL)" userId="36d5fe54-f594-457f-afe5-125c06205e2f" providerId="ADAL" clId="{31278014-EF2D-4EFA-BB0B-13FD7A0C5A57}" dt="2024-01-18T13:06:53.250" v="6338" actId="1076"/>
          <ac:picMkLst>
            <pc:docMk/>
            <pc:sldMk cId="3279389762" sldId="5222"/>
            <ac:picMk id="10" creationId="{B82FF702-5A27-05B8-B5D0-1928D9462521}"/>
          </ac:picMkLst>
        </pc:picChg>
        <pc:picChg chg="add mod">
          <ac:chgData name="Gulati, Natasha (ELS-KUL)" userId="36d5fe54-f594-457f-afe5-125c06205e2f" providerId="ADAL" clId="{31278014-EF2D-4EFA-BB0B-13FD7A0C5A57}" dt="2024-01-18T13:07:13.914" v="6340" actId="1076"/>
          <ac:picMkLst>
            <pc:docMk/>
            <pc:sldMk cId="3279389762" sldId="5222"/>
            <ac:picMk id="12" creationId="{4867F9B1-8F8C-EA75-D4B3-71716D3C21C6}"/>
          </ac:picMkLst>
        </pc:picChg>
      </pc:sldChg>
      <pc:sldChg chg="modSp new del mod">
        <pc:chgData name="Gulati, Natasha (ELS-KUL)" userId="36d5fe54-f594-457f-afe5-125c06205e2f" providerId="ADAL" clId="{31278014-EF2D-4EFA-BB0B-13FD7A0C5A57}" dt="2024-01-15T15:52:40.971" v="6001" actId="47"/>
        <pc:sldMkLst>
          <pc:docMk/>
          <pc:sldMk cId="1575382689" sldId="5223"/>
        </pc:sldMkLst>
        <pc:spChg chg="mod">
          <ac:chgData name="Gulati, Natasha (ELS-KUL)" userId="36d5fe54-f594-457f-afe5-125c06205e2f" providerId="ADAL" clId="{31278014-EF2D-4EFA-BB0B-13FD7A0C5A57}" dt="2024-01-13T08:50:19.082" v="289" actId="20577"/>
          <ac:spMkLst>
            <pc:docMk/>
            <pc:sldMk cId="1575382689" sldId="5223"/>
            <ac:spMk id="2" creationId="{BACFA5CE-20A1-34C6-662B-3D71AFD9BEE0}"/>
          </ac:spMkLst>
        </pc:spChg>
        <pc:spChg chg="mod">
          <ac:chgData name="Gulati, Natasha (ELS-KUL)" userId="36d5fe54-f594-457f-afe5-125c06205e2f" providerId="ADAL" clId="{31278014-EF2D-4EFA-BB0B-13FD7A0C5A57}" dt="2024-01-13T08:48:52.949" v="52" actId="20577"/>
          <ac:spMkLst>
            <pc:docMk/>
            <pc:sldMk cId="1575382689" sldId="5223"/>
            <ac:spMk id="3" creationId="{30443EB2-5CEF-DF3B-37C7-154C00A0C410}"/>
          </ac:spMkLst>
        </pc:spChg>
      </pc:sldChg>
      <pc:sldChg chg="modSp add mod">
        <pc:chgData name="Gulati, Natasha (ELS-KUL)" userId="36d5fe54-f594-457f-afe5-125c06205e2f" providerId="ADAL" clId="{31278014-EF2D-4EFA-BB0B-13FD7A0C5A57}" dt="2024-01-14T07:22:46.918" v="1185" actId="12"/>
        <pc:sldMkLst>
          <pc:docMk/>
          <pc:sldMk cId="1109769569" sldId="5224"/>
        </pc:sldMkLst>
        <pc:spChg chg="mod">
          <ac:chgData name="Gulati, Natasha (ELS-KUL)" userId="36d5fe54-f594-457f-afe5-125c06205e2f" providerId="ADAL" clId="{31278014-EF2D-4EFA-BB0B-13FD7A0C5A57}" dt="2024-01-14T07:22:46.918" v="1185" actId="12"/>
          <ac:spMkLst>
            <pc:docMk/>
            <pc:sldMk cId="1109769569" sldId="5224"/>
            <ac:spMk id="2" creationId="{BACFA5CE-20A1-34C6-662B-3D71AFD9BEE0}"/>
          </ac:spMkLst>
        </pc:spChg>
        <pc:spChg chg="mod">
          <ac:chgData name="Gulati, Natasha (ELS-KUL)" userId="36d5fe54-f594-457f-afe5-125c06205e2f" providerId="ADAL" clId="{31278014-EF2D-4EFA-BB0B-13FD7A0C5A57}" dt="2024-01-13T09:08:31.201" v="309" actId="20577"/>
          <ac:spMkLst>
            <pc:docMk/>
            <pc:sldMk cId="1109769569" sldId="5224"/>
            <ac:spMk id="3" creationId="{30443EB2-5CEF-DF3B-37C7-154C00A0C410}"/>
          </ac:spMkLst>
        </pc:spChg>
      </pc:sldChg>
      <pc:sldChg chg="modSp add del mod">
        <pc:chgData name="Gulati, Natasha (ELS-KUL)" userId="36d5fe54-f594-457f-afe5-125c06205e2f" providerId="ADAL" clId="{31278014-EF2D-4EFA-BB0B-13FD7A0C5A57}" dt="2024-01-15T15:52:33.105" v="5999" actId="47"/>
        <pc:sldMkLst>
          <pc:docMk/>
          <pc:sldMk cId="1861777654" sldId="5225"/>
        </pc:sldMkLst>
        <pc:spChg chg="mod">
          <ac:chgData name="Gulati, Natasha (ELS-KUL)" userId="36d5fe54-f594-457f-afe5-125c06205e2f" providerId="ADAL" clId="{31278014-EF2D-4EFA-BB0B-13FD7A0C5A57}" dt="2024-01-13T09:24:04.551" v="1127" actId="20577"/>
          <ac:spMkLst>
            <pc:docMk/>
            <pc:sldMk cId="1861777654" sldId="5225"/>
            <ac:spMk id="2" creationId="{BACFA5CE-20A1-34C6-662B-3D71AFD9BEE0}"/>
          </ac:spMkLst>
        </pc:spChg>
        <pc:spChg chg="mod">
          <ac:chgData name="Gulati, Natasha (ELS-KUL)" userId="36d5fe54-f594-457f-afe5-125c06205e2f" providerId="ADAL" clId="{31278014-EF2D-4EFA-BB0B-13FD7A0C5A57}" dt="2024-01-13T09:11:37.727" v="746" actId="20577"/>
          <ac:spMkLst>
            <pc:docMk/>
            <pc:sldMk cId="1861777654" sldId="5225"/>
            <ac:spMk id="3" creationId="{30443EB2-5CEF-DF3B-37C7-154C00A0C410}"/>
          </ac:spMkLst>
        </pc:spChg>
      </pc:sldChg>
      <pc:sldChg chg="modSp add del mod">
        <pc:chgData name="Gulati, Natasha (ELS-KUL)" userId="36d5fe54-f594-457f-afe5-125c06205e2f" providerId="ADAL" clId="{31278014-EF2D-4EFA-BB0B-13FD7A0C5A57}" dt="2024-01-15T15:52:34.026" v="6000" actId="47"/>
        <pc:sldMkLst>
          <pc:docMk/>
          <pc:sldMk cId="475068255" sldId="5226"/>
        </pc:sldMkLst>
        <pc:spChg chg="mod">
          <ac:chgData name="Gulati, Natasha (ELS-KUL)" userId="36d5fe54-f594-457f-afe5-125c06205e2f" providerId="ADAL" clId="{31278014-EF2D-4EFA-BB0B-13FD7A0C5A57}" dt="2024-01-13T09:29:07.560" v="1184" actId="20577"/>
          <ac:spMkLst>
            <pc:docMk/>
            <pc:sldMk cId="475068255" sldId="5226"/>
            <ac:spMk id="2" creationId="{BACFA5CE-20A1-34C6-662B-3D71AFD9BEE0}"/>
          </ac:spMkLst>
        </pc:spChg>
      </pc:sldChg>
      <pc:sldChg chg="addSp delSp modSp add mod ord">
        <pc:chgData name="Gulati, Natasha (ELS-KUL)" userId="36d5fe54-f594-457f-afe5-125c06205e2f" providerId="ADAL" clId="{31278014-EF2D-4EFA-BB0B-13FD7A0C5A57}" dt="2024-01-15T14:44:43.942" v="3137" actId="20577"/>
        <pc:sldMkLst>
          <pc:docMk/>
          <pc:sldMk cId="832965386" sldId="5227"/>
        </pc:sldMkLst>
        <pc:spChg chg="del">
          <ac:chgData name="Gulati, Natasha (ELS-KUL)" userId="36d5fe54-f594-457f-afe5-125c06205e2f" providerId="ADAL" clId="{31278014-EF2D-4EFA-BB0B-13FD7A0C5A57}" dt="2024-01-14T08:25:45.737" v="2087" actId="478"/>
          <ac:spMkLst>
            <pc:docMk/>
            <pc:sldMk cId="832965386" sldId="5227"/>
            <ac:spMk id="3" creationId="{6B5BDD6B-3FA3-CCF1-0644-CC676AF073FC}"/>
          </ac:spMkLst>
        </pc:spChg>
        <pc:spChg chg="add mod">
          <ac:chgData name="Gulati, Natasha (ELS-KUL)" userId="36d5fe54-f594-457f-afe5-125c06205e2f" providerId="ADAL" clId="{31278014-EF2D-4EFA-BB0B-13FD7A0C5A57}" dt="2024-01-15T14:44:43.942" v="3137" actId="20577"/>
          <ac:spMkLst>
            <pc:docMk/>
            <pc:sldMk cId="832965386" sldId="5227"/>
            <ac:spMk id="3" creationId="{C426D038-B3BE-14DB-3B45-44D1E6BEBDBD}"/>
          </ac:spMkLst>
        </pc:spChg>
        <pc:spChg chg="add mod">
          <ac:chgData name="Gulati, Natasha (ELS-KUL)" userId="36d5fe54-f594-457f-afe5-125c06205e2f" providerId="ADAL" clId="{31278014-EF2D-4EFA-BB0B-13FD7A0C5A57}" dt="2024-01-14T08:26:58.946" v="2200" actId="113"/>
          <ac:spMkLst>
            <pc:docMk/>
            <pc:sldMk cId="832965386" sldId="5227"/>
            <ac:spMk id="4" creationId="{8EE4BE72-DF28-CA83-354F-BDA3E132BCCD}"/>
          </ac:spMkLst>
        </pc:spChg>
        <pc:spChg chg="del">
          <ac:chgData name="Gulati, Natasha (ELS-KUL)" userId="36d5fe54-f594-457f-afe5-125c06205e2f" providerId="ADAL" clId="{31278014-EF2D-4EFA-BB0B-13FD7A0C5A57}" dt="2024-01-14T08:25:41.574" v="2086" actId="478"/>
          <ac:spMkLst>
            <pc:docMk/>
            <pc:sldMk cId="832965386" sldId="5227"/>
            <ac:spMk id="8" creationId="{AD672D07-BF26-4BEA-F688-B8D478633643}"/>
          </ac:spMkLst>
        </pc:spChg>
      </pc:sldChg>
      <pc:sldChg chg="addSp delSp modSp add mod">
        <pc:chgData name="Gulati, Natasha (ELS-KUL)" userId="36d5fe54-f594-457f-afe5-125c06205e2f" providerId="ADAL" clId="{31278014-EF2D-4EFA-BB0B-13FD7A0C5A57}" dt="2024-01-14T08:40:25.079" v="2598" actId="14100"/>
        <pc:sldMkLst>
          <pc:docMk/>
          <pc:sldMk cId="2224471682" sldId="5228"/>
        </pc:sldMkLst>
        <pc:spChg chg="add mod">
          <ac:chgData name="Gulati, Natasha (ELS-KUL)" userId="36d5fe54-f594-457f-afe5-125c06205e2f" providerId="ADAL" clId="{31278014-EF2D-4EFA-BB0B-13FD7A0C5A57}" dt="2024-01-14T08:21:16.448" v="2082" actId="207"/>
          <ac:spMkLst>
            <pc:docMk/>
            <pc:sldMk cId="2224471682" sldId="5228"/>
            <ac:spMk id="4" creationId="{2C6442DE-A83D-EEC8-B4AD-299A97416A08}"/>
          </ac:spMkLst>
        </pc:spChg>
        <pc:spChg chg="add mod">
          <ac:chgData name="Gulati, Natasha (ELS-KUL)" userId="36d5fe54-f594-457f-afe5-125c06205e2f" providerId="ADAL" clId="{31278014-EF2D-4EFA-BB0B-13FD7A0C5A57}" dt="2024-01-14T08:40:25.079" v="2598" actId="14100"/>
          <ac:spMkLst>
            <pc:docMk/>
            <pc:sldMk cId="2224471682" sldId="5228"/>
            <ac:spMk id="5" creationId="{BC726BA8-ED47-6E2B-8ACA-AF8DDCF0983F}"/>
          </ac:spMkLst>
        </pc:spChg>
        <pc:spChg chg="del">
          <ac:chgData name="Gulati, Natasha (ELS-KUL)" userId="36d5fe54-f594-457f-afe5-125c06205e2f" providerId="ADAL" clId="{31278014-EF2D-4EFA-BB0B-13FD7A0C5A57}" dt="2024-01-14T08:20:58.389" v="2066" actId="478"/>
          <ac:spMkLst>
            <pc:docMk/>
            <pc:sldMk cId="2224471682" sldId="5228"/>
            <ac:spMk id="8" creationId="{AD672D07-BF26-4BEA-F688-B8D478633643}"/>
          </ac:spMkLst>
        </pc:spChg>
      </pc:sldChg>
      <pc:sldChg chg="addSp modSp add">
        <pc:chgData name="Gulati, Natasha (ELS-KUL)" userId="36d5fe54-f594-457f-afe5-125c06205e2f" providerId="ADAL" clId="{31278014-EF2D-4EFA-BB0B-13FD7A0C5A57}" dt="2024-01-14T08:21:39.594" v="2084"/>
        <pc:sldMkLst>
          <pc:docMk/>
          <pc:sldMk cId="300889834" sldId="5229"/>
        </pc:sldMkLst>
        <pc:spChg chg="add mod">
          <ac:chgData name="Gulati, Natasha (ELS-KUL)" userId="36d5fe54-f594-457f-afe5-125c06205e2f" providerId="ADAL" clId="{31278014-EF2D-4EFA-BB0B-13FD7A0C5A57}" dt="2024-01-14T08:21:39.594" v="2084"/>
          <ac:spMkLst>
            <pc:docMk/>
            <pc:sldMk cId="300889834" sldId="5229"/>
            <ac:spMk id="4" creationId="{B7CC3635-17ED-E4C4-6F74-40BB375FA20D}"/>
          </ac:spMkLst>
        </pc:spChg>
      </pc:sldChg>
      <pc:sldChg chg="addSp delSp modSp add mod">
        <pc:chgData name="Gulati, Natasha (ELS-KUL)" userId="36d5fe54-f594-457f-afe5-125c06205e2f" providerId="ADAL" clId="{31278014-EF2D-4EFA-BB0B-13FD7A0C5A57}" dt="2024-01-14T08:54:25.601" v="3120"/>
        <pc:sldMkLst>
          <pc:docMk/>
          <pc:sldMk cId="2863893572" sldId="5230"/>
        </pc:sldMkLst>
        <pc:spChg chg="mod">
          <ac:chgData name="Gulati, Natasha (ELS-KUL)" userId="36d5fe54-f594-457f-afe5-125c06205e2f" providerId="ADAL" clId="{31278014-EF2D-4EFA-BB0B-13FD7A0C5A57}" dt="2024-01-14T08:54:14.140" v="3118" actId="20577"/>
          <ac:spMkLst>
            <pc:docMk/>
            <pc:sldMk cId="2863893572" sldId="5230"/>
            <ac:spMk id="2" creationId="{BBEAEF97-6ACC-C242-450A-B53DEDAAD271}"/>
          </ac:spMkLst>
        </pc:spChg>
        <pc:spChg chg="del">
          <ac:chgData name="Gulati, Natasha (ELS-KUL)" userId="36d5fe54-f594-457f-afe5-125c06205e2f" providerId="ADAL" clId="{31278014-EF2D-4EFA-BB0B-13FD7A0C5A57}" dt="2024-01-14T08:54:18.335" v="3119" actId="478"/>
          <ac:spMkLst>
            <pc:docMk/>
            <pc:sldMk cId="2863893572" sldId="5230"/>
            <ac:spMk id="3" creationId="{9FBF65EB-41FA-C149-8065-CEF7B93F11AC}"/>
          </ac:spMkLst>
        </pc:spChg>
        <pc:spChg chg="add mod">
          <ac:chgData name="Gulati, Natasha (ELS-KUL)" userId="36d5fe54-f594-457f-afe5-125c06205e2f" providerId="ADAL" clId="{31278014-EF2D-4EFA-BB0B-13FD7A0C5A57}" dt="2024-01-14T08:54:25.601" v="3120"/>
          <ac:spMkLst>
            <pc:docMk/>
            <pc:sldMk cId="2863893572" sldId="5230"/>
            <ac:spMk id="4" creationId="{A17CCBC8-0054-1FA6-DA3A-BDB2C49BFB68}"/>
          </ac:spMkLst>
        </pc:spChg>
      </pc:sldChg>
      <pc:sldChg chg="modSp add mod">
        <pc:chgData name="Gulati, Natasha (ELS-KUL)" userId="36d5fe54-f594-457f-afe5-125c06205e2f" providerId="ADAL" clId="{31278014-EF2D-4EFA-BB0B-13FD7A0C5A57}" dt="2024-01-15T14:53:15.658" v="3585" actId="20577"/>
        <pc:sldMkLst>
          <pc:docMk/>
          <pc:sldMk cId="1278601699" sldId="5231"/>
        </pc:sldMkLst>
        <pc:spChg chg="mod">
          <ac:chgData name="Gulati, Natasha (ELS-KUL)" userId="36d5fe54-f594-457f-afe5-125c06205e2f" providerId="ADAL" clId="{31278014-EF2D-4EFA-BB0B-13FD7A0C5A57}" dt="2024-01-15T14:48:07.148" v="3146" actId="20577"/>
          <ac:spMkLst>
            <pc:docMk/>
            <pc:sldMk cId="1278601699" sldId="5231"/>
            <ac:spMk id="2" creationId="{BBEAEF97-6ACC-C242-450A-B53DEDAAD271}"/>
          </ac:spMkLst>
        </pc:spChg>
        <pc:spChg chg="mod">
          <ac:chgData name="Gulati, Natasha (ELS-KUL)" userId="36d5fe54-f594-457f-afe5-125c06205e2f" providerId="ADAL" clId="{31278014-EF2D-4EFA-BB0B-13FD7A0C5A57}" dt="2024-01-15T14:51:04.324" v="3506" actId="20577"/>
          <ac:spMkLst>
            <pc:docMk/>
            <pc:sldMk cId="1278601699" sldId="5231"/>
            <ac:spMk id="3" creationId="{9FBF65EB-41FA-C149-8065-CEF7B93F11AC}"/>
          </ac:spMkLst>
        </pc:spChg>
        <pc:spChg chg="mod">
          <ac:chgData name="Gulati, Natasha (ELS-KUL)" userId="36d5fe54-f594-457f-afe5-125c06205e2f" providerId="ADAL" clId="{31278014-EF2D-4EFA-BB0B-13FD7A0C5A57}" dt="2024-01-15T14:53:15.658" v="3585" actId="20577"/>
          <ac:spMkLst>
            <pc:docMk/>
            <pc:sldMk cId="1278601699" sldId="5231"/>
            <ac:spMk id="5" creationId="{8FC70412-C625-25EF-76D5-E6C1F0603555}"/>
          </ac:spMkLst>
        </pc:spChg>
      </pc:sldChg>
      <pc:sldChg chg="addSp modSp add mod">
        <pc:chgData name="Gulati, Natasha (ELS-KUL)" userId="36d5fe54-f594-457f-afe5-125c06205e2f" providerId="ADAL" clId="{31278014-EF2D-4EFA-BB0B-13FD7A0C5A57}" dt="2024-01-15T15:14:09.066" v="5115" actId="20577"/>
        <pc:sldMkLst>
          <pc:docMk/>
          <pc:sldMk cId="3167691619" sldId="5232"/>
        </pc:sldMkLst>
        <pc:spChg chg="mod">
          <ac:chgData name="Gulati, Natasha (ELS-KUL)" userId="36d5fe54-f594-457f-afe5-125c06205e2f" providerId="ADAL" clId="{31278014-EF2D-4EFA-BB0B-13FD7A0C5A57}" dt="2024-01-15T14:52:28.565" v="3526" actId="20577"/>
          <ac:spMkLst>
            <pc:docMk/>
            <pc:sldMk cId="3167691619" sldId="5232"/>
            <ac:spMk id="2" creationId="{BBEAEF97-6ACC-C242-450A-B53DEDAAD271}"/>
          </ac:spMkLst>
        </pc:spChg>
        <pc:spChg chg="mod">
          <ac:chgData name="Gulati, Natasha (ELS-KUL)" userId="36d5fe54-f594-457f-afe5-125c06205e2f" providerId="ADAL" clId="{31278014-EF2D-4EFA-BB0B-13FD7A0C5A57}" dt="2024-01-15T14:53:03.112" v="3583" actId="14100"/>
          <ac:spMkLst>
            <pc:docMk/>
            <pc:sldMk cId="3167691619" sldId="5232"/>
            <ac:spMk id="3" creationId="{9FBF65EB-41FA-C149-8065-CEF7B93F11AC}"/>
          </ac:spMkLst>
        </pc:spChg>
        <pc:spChg chg="add mod">
          <ac:chgData name="Gulati, Natasha (ELS-KUL)" userId="36d5fe54-f594-457f-afe5-125c06205e2f" providerId="ADAL" clId="{31278014-EF2D-4EFA-BB0B-13FD7A0C5A57}" dt="2024-01-15T15:14:09.066" v="5115" actId="20577"/>
          <ac:spMkLst>
            <pc:docMk/>
            <pc:sldMk cId="3167691619" sldId="5232"/>
            <ac:spMk id="4" creationId="{8F54388D-F914-0965-049B-E486D96E4A23}"/>
          </ac:spMkLst>
        </pc:spChg>
        <pc:spChg chg="mod">
          <ac:chgData name="Gulati, Natasha (ELS-KUL)" userId="36d5fe54-f594-457f-afe5-125c06205e2f" providerId="ADAL" clId="{31278014-EF2D-4EFA-BB0B-13FD7A0C5A57}" dt="2024-01-15T14:53:30.262" v="3587" actId="20577"/>
          <ac:spMkLst>
            <pc:docMk/>
            <pc:sldMk cId="3167691619" sldId="5232"/>
            <ac:spMk id="5" creationId="{8FC70412-C625-25EF-76D5-E6C1F0603555}"/>
          </ac:spMkLst>
        </pc:spChg>
        <pc:spChg chg="add mod">
          <ac:chgData name="Gulati, Natasha (ELS-KUL)" userId="36d5fe54-f594-457f-afe5-125c06205e2f" providerId="ADAL" clId="{31278014-EF2D-4EFA-BB0B-13FD7A0C5A57}" dt="2024-01-15T15:04:07.531" v="4449" actId="207"/>
          <ac:spMkLst>
            <pc:docMk/>
            <pc:sldMk cId="3167691619" sldId="5232"/>
            <ac:spMk id="6" creationId="{603B20FB-89AE-0067-42F1-43370C33E044}"/>
          </ac:spMkLst>
        </pc:spChg>
      </pc:sldChg>
      <pc:sldChg chg="delSp modSp add mod">
        <pc:chgData name="Gulati, Natasha (ELS-KUL)" userId="36d5fe54-f594-457f-afe5-125c06205e2f" providerId="ADAL" clId="{31278014-EF2D-4EFA-BB0B-13FD7A0C5A57}" dt="2024-01-15T15:09:10.894" v="4735" actId="114"/>
        <pc:sldMkLst>
          <pc:docMk/>
          <pc:sldMk cId="1331965230" sldId="5233"/>
        </pc:sldMkLst>
        <pc:spChg chg="del mod">
          <ac:chgData name="Gulati, Natasha (ELS-KUL)" userId="36d5fe54-f594-457f-afe5-125c06205e2f" providerId="ADAL" clId="{31278014-EF2D-4EFA-BB0B-13FD7A0C5A57}" dt="2024-01-15T15:04:33.922" v="4453" actId="478"/>
          <ac:spMkLst>
            <pc:docMk/>
            <pc:sldMk cId="1331965230" sldId="5233"/>
            <ac:spMk id="4" creationId="{8F54388D-F914-0965-049B-E486D96E4A23}"/>
          </ac:spMkLst>
        </pc:spChg>
        <pc:spChg chg="mod">
          <ac:chgData name="Gulati, Natasha (ELS-KUL)" userId="36d5fe54-f594-457f-afe5-125c06205e2f" providerId="ADAL" clId="{31278014-EF2D-4EFA-BB0B-13FD7A0C5A57}" dt="2024-01-15T15:09:10.894" v="4735" actId="114"/>
          <ac:spMkLst>
            <pc:docMk/>
            <pc:sldMk cId="1331965230" sldId="5233"/>
            <ac:spMk id="6" creationId="{603B20FB-89AE-0067-42F1-43370C33E044}"/>
          </ac:spMkLst>
        </pc:spChg>
      </pc:sldChg>
      <pc:sldChg chg="modSp add mod">
        <pc:chgData name="Gulati, Natasha (ELS-KUL)" userId="36d5fe54-f594-457f-afe5-125c06205e2f" providerId="ADAL" clId="{31278014-EF2D-4EFA-BB0B-13FD7A0C5A57}" dt="2024-01-15T15:21:58.907" v="5614" actId="20577"/>
        <pc:sldMkLst>
          <pc:docMk/>
          <pc:sldMk cId="514584333" sldId="5234"/>
        </pc:sldMkLst>
        <pc:spChg chg="mod">
          <ac:chgData name="Gulati, Natasha (ELS-KUL)" userId="36d5fe54-f594-457f-afe5-125c06205e2f" providerId="ADAL" clId="{31278014-EF2D-4EFA-BB0B-13FD7A0C5A57}" dt="2024-01-15T15:09:35.257" v="4751" actId="20577"/>
          <ac:spMkLst>
            <pc:docMk/>
            <pc:sldMk cId="514584333" sldId="5234"/>
            <ac:spMk id="2" creationId="{BBEAEF97-6ACC-C242-450A-B53DEDAAD271}"/>
          </ac:spMkLst>
        </pc:spChg>
        <pc:spChg chg="mod">
          <ac:chgData name="Gulati, Natasha (ELS-KUL)" userId="36d5fe54-f594-457f-afe5-125c06205e2f" providerId="ADAL" clId="{31278014-EF2D-4EFA-BB0B-13FD7A0C5A57}" dt="2024-01-15T15:21:58.907" v="5614" actId="20577"/>
          <ac:spMkLst>
            <pc:docMk/>
            <pc:sldMk cId="514584333" sldId="5234"/>
            <ac:spMk id="3" creationId="{9FBF65EB-41FA-C149-8065-CEF7B93F11AC}"/>
          </ac:spMkLst>
        </pc:spChg>
        <pc:spChg chg="mod">
          <ac:chgData name="Gulati, Natasha (ELS-KUL)" userId="36d5fe54-f594-457f-afe5-125c06205e2f" providerId="ADAL" clId="{31278014-EF2D-4EFA-BB0B-13FD7A0C5A57}" dt="2024-01-15T15:20:29.775" v="5526" actId="20577"/>
          <ac:spMkLst>
            <pc:docMk/>
            <pc:sldMk cId="514584333" sldId="5234"/>
            <ac:spMk id="5" creationId="{8FC70412-C625-25EF-76D5-E6C1F0603555}"/>
          </ac:spMkLst>
        </pc:spChg>
      </pc:sldChg>
      <pc:sldChg chg="modSp add mod">
        <pc:chgData name="Gulati, Natasha (ELS-KUL)" userId="36d5fe54-f594-457f-afe5-125c06205e2f" providerId="ADAL" clId="{31278014-EF2D-4EFA-BB0B-13FD7A0C5A57}" dt="2024-01-15T15:31:12.161" v="5693" actId="20577"/>
        <pc:sldMkLst>
          <pc:docMk/>
          <pc:sldMk cId="2559818336" sldId="5235"/>
        </pc:sldMkLst>
        <pc:spChg chg="mod">
          <ac:chgData name="Gulati, Natasha (ELS-KUL)" userId="36d5fe54-f594-457f-afe5-125c06205e2f" providerId="ADAL" clId="{31278014-EF2D-4EFA-BB0B-13FD7A0C5A57}" dt="2024-01-15T15:31:12.161" v="5693" actId="20577"/>
          <ac:spMkLst>
            <pc:docMk/>
            <pc:sldMk cId="2559818336" sldId="5235"/>
            <ac:spMk id="2" creationId="{CA4A672F-B80E-FF43-E1F8-C160F2F4386A}"/>
          </ac:spMkLst>
        </pc:spChg>
      </pc:sldChg>
      <pc:sldChg chg="addSp delSp modSp add mod">
        <pc:chgData name="Gulati, Natasha (ELS-KUL)" userId="36d5fe54-f594-457f-afe5-125c06205e2f" providerId="ADAL" clId="{31278014-EF2D-4EFA-BB0B-13FD7A0C5A57}" dt="2024-01-15T15:31:02.347" v="5687" actId="20577"/>
        <pc:sldMkLst>
          <pc:docMk/>
          <pc:sldMk cId="1624865612" sldId="5236"/>
        </pc:sldMkLst>
        <pc:spChg chg="mod">
          <ac:chgData name="Gulati, Natasha (ELS-KUL)" userId="36d5fe54-f594-457f-afe5-125c06205e2f" providerId="ADAL" clId="{31278014-EF2D-4EFA-BB0B-13FD7A0C5A57}" dt="2024-01-15T15:31:02.347" v="5687" actId="20577"/>
          <ac:spMkLst>
            <pc:docMk/>
            <pc:sldMk cId="1624865612" sldId="5236"/>
            <ac:spMk id="2" creationId="{BBEAEF97-6ACC-C242-450A-B53DEDAAD271}"/>
          </ac:spMkLst>
        </pc:spChg>
        <pc:spChg chg="del">
          <ac:chgData name="Gulati, Natasha (ELS-KUL)" userId="36d5fe54-f594-457f-afe5-125c06205e2f" providerId="ADAL" clId="{31278014-EF2D-4EFA-BB0B-13FD7A0C5A57}" dt="2024-01-15T15:29:26.707" v="5668" actId="478"/>
          <ac:spMkLst>
            <pc:docMk/>
            <pc:sldMk cId="1624865612" sldId="5236"/>
            <ac:spMk id="4" creationId="{A17CCBC8-0054-1FA6-DA3A-BDB2C49BFB68}"/>
          </ac:spMkLst>
        </pc:spChg>
        <pc:spChg chg="mod">
          <ac:chgData name="Gulati, Natasha (ELS-KUL)" userId="36d5fe54-f594-457f-afe5-125c06205e2f" providerId="ADAL" clId="{31278014-EF2D-4EFA-BB0B-13FD7A0C5A57}" dt="2024-01-15T15:30:56.539" v="5675" actId="20577"/>
          <ac:spMkLst>
            <pc:docMk/>
            <pc:sldMk cId="1624865612" sldId="5236"/>
            <ac:spMk id="5" creationId="{8FC70412-C625-25EF-76D5-E6C1F0603555}"/>
          </ac:spMkLst>
        </pc:spChg>
        <pc:picChg chg="add mod">
          <ac:chgData name="Gulati, Natasha (ELS-KUL)" userId="36d5fe54-f594-457f-afe5-125c06205e2f" providerId="ADAL" clId="{31278014-EF2D-4EFA-BB0B-13FD7A0C5A57}" dt="2024-01-15T15:30:08.648" v="5670" actId="1076"/>
          <ac:picMkLst>
            <pc:docMk/>
            <pc:sldMk cId="1624865612" sldId="5236"/>
            <ac:picMk id="6" creationId="{9BC2F6E7-A417-BD6F-2F2E-5DC5459FD511}"/>
          </ac:picMkLst>
        </pc:picChg>
      </pc:sldChg>
      <pc:sldChg chg="addSp delSp modSp add mod ord">
        <pc:chgData name="Gulati, Natasha (ELS-KUL)" userId="36d5fe54-f594-457f-afe5-125c06205e2f" providerId="ADAL" clId="{31278014-EF2D-4EFA-BB0B-13FD7A0C5A57}" dt="2024-01-18T04:56:01.439" v="6182" actId="20577"/>
        <pc:sldMkLst>
          <pc:docMk/>
          <pc:sldMk cId="1099671719" sldId="5237"/>
        </pc:sldMkLst>
        <pc:spChg chg="mod">
          <ac:chgData name="Gulati, Natasha (ELS-KUL)" userId="36d5fe54-f594-457f-afe5-125c06205e2f" providerId="ADAL" clId="{31278014-EF2D-4EFA-BB0B-13FD7A0C5A57}" dt="2024-01-18T04:56:01.439" v="6182" actId="20577"/>
          <ac:spMkLst>
            <pc:docMk/>
            <pc:sldMk cId="1099671719" sldId="5237"/>
            <ac:spMk id="2" creationId="{BBEAEF97-6ACC-C242-450A-B53DEDAAD271}"/>
          </ac:spMkLst>
        </pc:spChg>
        <pc:spChg chg="mod">
          <ac:chgData name="Gulati, Natasha (ELS-KUL)" userId="36d5fe54-f594-457f-afe5-125c06205e2f" providerId="ADAL" clId="{31278014-EF2D-4EFA-BB0B-13FD7A0C5A57}" dt="2024-01-15T15:34:30.574" v="5721" actId="20577"/>
          <ac:spMkLst>
            <pc:docMk/>
            <pc:sldMk cId="1099671719" sldId="5237"/>
            <ac:spMk id="5" creationId="{8FC70412-C625-25EF-76D5-E6C1F0603555}"/>
          </ac:spMkLst>
        </pc:spChg>
        <pc:picChg chg="add mod">
          <ac:chgData name="Gulati, Natasha (ELS-KUL)" userId="36d5fe54-f594-457f-afe5-125c06205e2f" providerId="ADAL" clId="{31278014-EF2D-4EFA-BB0B-13FD7A0C5A57}" dt="2024-01-15T15:34:20.964" v="5719" actId="14100"/>
          <ac:picMkLst>
            <pc:docMk/>
            <pc:sldMk cId="1099671719" sldId="5237"/>
            <ac:picMk id="4" creationId="{52CF269C-362B-5715-8510-8DBDCE51C9B4}"/>
          </ac:picMkLst>
        </pc:picChg>
        <pc:picChg chg="del">
          <ac:chgData name="Gulati, Natasha (ELS-KUL)" userId="36d5fe54-f594-457f-afe5-125c06205e2f" providerId="ADAL" clId="{31278014-EF2D-4EFA-BB0B-13FD7A0C5A57}" dt="2024-01-15T15:33:53.346" v="5716" actId="478"/>
          <ac:picMkLst>
            <pc:docMk/>
            <pc:sldMk cId="1099671719" sldId="5237"/>
            <ac:picMk id="6" creationId="{9BC2F6E7-A417-BD6F-2F2E-5DC5459FD511}"/>
          </ac:picMkLst>
        </pc:picChg>
      </pc:sldChg>
      <pc:sldChg chg="addSp delSp modSp add mod">
        <pc:chgData name="Gulati, Natasha (ELS-KUL)" userId="36d5fe54-f594-457f-afe5-125c06205e2f" providerId="ADAL" clId="{31278014-EF2D-4EFA-BB0B-13FD7A0C5A57}" dt="2024-01-15T15:41:10.053" v="5748" actId="14100"/>
        <pc:sldMkLst>
          <pc:docMk/>
          <pc:sldMk cId="3825140698" sldId="5238"/>
        </pc:sldMkLst>
        <pc:spChg chg="mod">
          <ac:chgData name="Gulati, Natasha (ELS-KUL)" userId="36d5fe54-f594-457f-afe5-125c06205e2f" providerId="ADAL" clId="{31278014-EF2D-4EFA-BB0B-13FD7A0C5A57}" dt="2024-01-15T15:40:50.770" v="5742" actId="20577"/>
          <ac:spMkLst>
            <pc:docMk/>
            <pc:sldMk cId="3825140698" sldId="5238"/>
            <ac:spMk id="2" creationId="{BBEAEF97-6ACC-C242-450A-B53DEDAAD271}"/>
          </ac:spMkLst>
        </pc:spChg>
        <pc:spChg chg="mod">
          <ac:chgData name="Gulati, Natasha (ELS-KUL)" userId="36d5fe54-f594-457f-afe5-125c06205e2f" providerId="ADAL" clId="{31278014-EF2D-4EFA-BB0B-13FD7A0C5A57}" dt="2024-01-15T15:41:00.050" v="5745" actId="20577"/>
          <ac:spMkLst>
            <pc:docMk/>
            <pc:sldMk cId="3825140698" sldId="5238"/>
            <ac:spMk id="5" creationId="{8FC70412-C625-25EF-76D5-E6C1F0603555}"/>
          </ac:spMkLst>
        </pc:spChg>
        <pc:picChg chg="del">
          <ac:chgData name="Gulati, Natasha (ELS-KUL)" userId="36d5fe54-f594-457f-afe5-125c06205e2f" providerId="ADAL" clId="{31278014-EF2D-4EFA-BB0B-13FD7A0C5A57}" dt="2024-01-15T15:40:52.483" v="5743" actId="478"/>
          <ac:picMkLst>
            <pc:docMk/>
            <pc:sldMk cId="3825140698" sldId="5238"/>
            <ac:picMk id="4" creationId="{52CF269C-362B-5715-8510-8DBDCE51C9B4}"/>
          </ac:picMkLst>
        </pc:picChg>
        <pc:picChg chg="add mod">
          <ac:chgData name="Gulati, Natasha (ELS-KUL)" userId="36d5fe54-f594-457f-afe5-125c06205e2f" providerId="ADAL" clId="{31278014-EF2D-4EFA-BB0B-13FD7A0C5A57}" dt="2024-01-15T15:41:10.053" v="5748" actId="14100"/>
          <ac:picMkLst>
            <pc:docMk/>
            <pc:sldMk cId="3825140698" sldId="5238"/>
            <ac:picMk id="6" creationId="{4B29A675-4ABD-6CAD-287E-1B6592CA394E}"/>
          </ac:picMkLst>
        </pc:picChg>
      </pc:sldChg>
      <pc:sldChg chg="addSp delSp modSp add mod">
        <pc:chgData name="Gulati, Natasha (ELS-KUL)" userId="36d5fe54-f594-457f-afe5-125c06205e2f" providerId="ADAL" clId="{31278014-EF2D-4EFA-BB0B-13FD7A0C5A57}" dt="2024-01-15T15:49:46.785" v="5959" actId="13926"/>
        <pc:sldMkLst>
          <pc:docMk/>
          <pc:sldMk cId="545888083" sldId="5239"/>
        </pc:sldMkLst>
        <pc:spChg chg="mod">
          <ac:chgData name="Gulati, Natasha (ELS-KUL)" userId="36d5fe54-f594-457f-afe5-125c06205e2f" providerId="ADAL" clId="{31278014-EF2D-4EFA-BB0B-13FD7A0C5A57}" dt="2024-01-15T15:44:11.926" v="5805" actId="20577"/>
          <ac:spMkLst>
            <pc:docMk/>
            <pc:sldMk cId="545888083" sldId="5239"/>
            <ac:spMk id="2" creationId="{BBEAEF97-6ACC-C242-450A-B53DEDAAD271}"/>
          </ac:spMkLst>
        </pc:spChg>
        <pc:spChg chg="del mod">
          <ac:chgData name="Gulati, Natasha (ELS-KUL)" userId="36d5fe54-f594-457f-afe5-125c06205e2f" providerId="ADAL" clId="{31278014-EF2D-4EFA-BB0B-13FD7A0C5A57}" dt="2024-01-15T15:44:13.967" v="5807" actId="478"/>
          <ac:spMkLst>
            <pc:docMk/>
            <pc:sldMk cId="545888083" sldId="5239"/>
            <ac:spMk id="4" creationId="{A17CCBC8-0054-1FA6-DA3A-BDB2C49BFB68}"/>
          </ac:spMkLst>
        </pc:spChg>
        <pc:spChg chg="mod">
          <ac:chgData name="Gulati, Natasha (ELS-KUL)" userId="36d5fe54-f594-457f-afe5-125c06205e2f" providerId="ADAL" clId="{31278014-EF2D-4EFA-BB0B-13FD7A0C5A57}" dt="2024-01-15T15:43:47.447" v="5763" actId="20577"/>
          <ac:spMkLst>
            <pc:docMk/>
            <pc:sldMk cId="545888083" sldId="5239"/>
            <ac:spMk id="5" creationId="{8FC70412-C625-25EF-76D5-E6C1F0603555}"/>
          </ac:spMkLst>
        </pc:spChg>
        <pc:graphicFrameChg chg="add mod modGraphic">
          <ac:chgData name="Gulati, Natasha (ELS-KUL)" userId="36d5fe54-f594-457f-afe5-125c06205e2f" providerId="ADAL" clId="{31278014-EF2D-4EFA-BB0B-13FD7A0C5A57}" dt="2024-01-15T15:46:09.379" v="5895" actId="13926"/>
          <ac:graphicFrameMkLst>
            <pc:docMk/>
            <pc:sldMk cId="545888083" sldId="5239"/>
            <ac:graphicFrameMk id="3" creationId="{8E627212-18A2-3D04-24EF-BB816AAEB7D6}"/>
          </ac:graphicFrameMkLst>
        </pc:graphicFrameChg>
        <pc:graphicFrameChg chg="add mod modGraphic">
          <ac:chgData name="Gulati, Natasha (ELS-KUL)" userId="36d5fe54-f594-457f-afe5-125c06205e2f" providerId="ADAL" clId="{31278014-EF2D-4EFA-BB0B-13FD7A0C5A57}" dt="2024-01-15T15:47:04.907" v="5925" actId="13926"/>
          <ac:graphicFrameMkLst>
            <pc:docMk/>
            <pc:sldMk cId="545888083" sldId="5239"/>
            <ac:graphicFrameMk id="6" creationId="{0F907196-AE3C-C9CA-46E2-8A00137CDCE3}"/>
          </ac:graphicFrameMkLst>
        </pc:graphicFrameChg>
        <pc:graphicFrameChg chg="add mod modGraphic">
          <ac:chgData name="Gulati, Natasha (ELS-KUL)" userId="36d5fe54-f594-457f-afe5-125c06205e2f" providerId="ADAL" clId="{31278014-EF2D-4EFA-BB0B-13FD7A0C5A57}" dt="2024-01-15T15:48:30.433" v="5935" actId="13926"/>
          <ac:graphicFrameMkLst>
            <pc:docMk/>
            <pc:sldMk cId="545888083" sldId="5239"/>
            <ac:graphicFrameMk id="7" creationId="{AA5229BD-1D14-4C26-E86B-719258DB14F2}"/>
          </ac:graphicFrameMkLst>
        </pc:graphicFrameChg>
        <pc:graphicFrameChg chg="add mod modGraphic">
          <ac:chgData name="Gulati, Natasha (ELS-KUL)" userId="36d5fe54-f594-457f-afe5-125c06205e2f" providerId="ADAL" clId="{31278014-EF2D-4EFA-BB0B-13FD7A0C5A57}" dt="2024-01-15T15:49:46.785" v="5959" actId="13926"/>
          <ac:graphicFrameMkLst>
            <pc:docMk/>
            <pc:sldMk cId="545888083" sldId="5239"/>
            <ac:graphicFrameMk id="8" creationId="{010DBD4B-5A11-BC3C-7750-0C40B4F7CB3B}"/>
          </ac:graphicFrameMkLst>
        </pc:graphicFrameChg>
      </pc:sldChg>
      <pc:sldChg chg="addSp delSp modSp add mod">
        <pc:chgData name="Gulati, Natasha (ELS-KUL)" userId="36d5fe54-f594-457f-afe5-125c06205e2f" providerId="ADAL" clId="{31278014-EF2D-4EFA-BB0B-13FD7A0C5A57}" dt="2024-01-15T16:00:42.013" v="6127" actId="1076"/>
        <pc:sldMkLst>
          <pc:docMk/>
          <pc:sldMk cId="3584987908" sldId="5240"/>
        </pc:sldMkLst>
        <pc:spChg chg="mod">
          <ac:chgData name="Gulati, Natasha (ELS-KUL)" userId="36d5fe54-f594-457f-afe5-125c06205e2f" providerId="ADAL" clId="{31278014-EF2D-4EFA-BB0B-13FD7A0C5A57}" dt="2024-01-15T15:58:28.170" v="6033" actId="20577"/>
          <ac:spMkLst>
            <pc:docMk/>
            <pc:sldMk cId="3584987908" sldId="5240"/>
            <ac:spMk id="2" creationId="{BBEAEF97-6ACC-C242-450A-B53DEDAAD271}"/>
          </ac:spMkLst>
        </pc:spChg>
        <pc:spChg chg="mod">
          <ac:chgData name="Gulati, Natasha (ELS-KUL)" userId="36d5fe54-f594-457f-afe5-125c06205e2f" providerId="ADAL" clId="{31278014-EF2D-4EFA-BB0B-13FD7A0C5A57}" dt="2024-01-15T15:59:09.113" v="6039" actId="20577"/>
          <ac:spMkLst>
            <pc:docMk/>
            <pc:sldMk cId="3584987908" sldId="5240"/>
            <ac:spMk id="5" creationId="{8FC70412-C625-25EF-76D5-E6C1F0603555}"/>
          </ac:spMkLst>
        </pc:spChg>
        <pc:spChg chg="add mod">
          <ac:chgData name="Gulati, Natasha (ELS-KUL)" userId="36d5fe54-f594-457f-afe5-125c06205e2f" providerId="ADAL" clId="{31278014-EF2D-4EFA-BB0B-13FD7A0C5A57}" dt="2024-01-15T16:00:12.303" v="6123" actId="1076"/>
          <ac:spMkLst>
            <pc:docMk/>
            <pc:sldMk cId="3584987908" sldId="5240"/>
            <ac:spMk id="7" creationId="{A04908A4-AB2F-C7DD-1588-4DEE03713261}"/>
          </ac:spMkLst>
        </pc:spChg>
        <pc:picChg chg="add mod">
          <ac:chgData name="Gulati, Natasha (ELS-KUL)" userId="36d5fe54-f594-457f-afe5-125c06205e2f" providerId="ADAL" clId="{31278014-EF2D-4EFA-BB0B-13FD7A0C5A57}" dt="2024-01-15T15:58:59.803" v="6037" actId="14100"/>
          <ac:picMkLst>
            <pc:docMk/>
            <pc:sldMk cId="3584987908" sldId="5240"/>
            <ac:picMk id="4" creationId="{AB6CA42F-1491-04C4-175D-74B41DF4C255}"/>
          </ac:picMkLst>
        </pc:picChg>
        <pc:picChg chg="del">
          <ac:chgData name="Gulati, Natasha (ELS-KUL)" userId="36d5fe54-f594-457f-afe5-125c06205e2f" providerId="ADAL" clId="{31278014-EF2D-4EFA-BB0B-13FD7A0C5A57}" dt="2024-01-15T15:58:19.645" v="6005" actId="478"/>
          <ac:picMkLst>
            <pc:docMk/>
            <pc:sldMk cId="3584987908" sldId="5240"/>
            <ac:picMk id="6" creationId="{9BC2F6E7-A417-BD6F-2F2E-5DC5459FD511}"/>
          </ac:picMkLst>
        </pc:picChg>
        <pc:picChg chg="add mod">
          <ac:chgData name="Gulati, Natasha (ELS-KUL)" userId="36d5fe54-f594-457f-afe5-125c06205e2f" providerId="ADAL" clId="{31278014-EF2D-4EFA-BB0B-13FD7A0C5A57}" dt="2024-01-15T16:00:42.013" v="6127" actId="1076"/>
          <ac:picMkLst>
            <pc:docMk/>
            <pc:sldMk cId="3584987908" sldId="5240"/>
            <ac:picMk id="9" creationId="{05F6BD27-E095-21D2-22AE-FB81AB08983C}"/>
          </ac:picMkLst>
        </pc:picChg>
      </pc:sldChg>
      <pc:sldChg chg="addSp modSp add mod">
        <pc:chgData name="Gulati, Natasha (ELS-KUL)" userId="36d5fe54-f594-457f-afe5-125c06205e2f" providerId="ADAL" clId="{31278014-EF2D-4EFA-BB0B-13FD7A0C5A57}" dt="2024-01-18T04:54:45.601" v="6169" actId="14100"/>
        <pc:sldMkLst>
          <pc:docMk/>
          <pc:sldMk cId="1860616233" sldId="5241"/>
        </pc:sldMkLst>
        <pc:spChg chg="mod">
          <ac:chgData name="Gulati, Natasha (ELS-KUL)" userId="36d5fe54-f594-457f-afe5-125c06205e2f" providerId="ADAL" clId="{31278014-EF2D-4EFA-BB0B-13FD7A0C5A57}" dt="2024-01-18T04:53:34.994" v="6161" actId="20577"/>
          <ac:spMkLst>
            <pc:docMk/>
            <pc:sldMk cId="1860616233" sldId="5241"/>
            <ac:spMk id="2" creationId="{BBEAEF97-6ACC-C242-450A-B53DEDAAD271}"/>
          </ac:spMkLst>
        </pc:spChg>
        <pc:spChg chg="add mod">
          <ac:chgData name="Gulati, Natasha (ELS-KUL)" userId="36d5fe54-f594-457f-afe5-125c06205e2f" providerId="ADAL" clId="{31278014-EF2D-4EFA-BB0B-13FD7A0C5A57}" dt="2024-01-18T04:54:45.601" v="6169" actId="14100"/>
          <ac:spMkLst>
            <pc:docMk/>
            <pc:sldMk cId="1860616233" sldId="5241"/>
            <ac:spMk id="3" creationId="{055AA582-BD31-75BB-BF35-B7D58AD2A1DE}"/>
          </ac:spMkLst>
        </pc:spChg>
        <pc:spChg chg="mod">
          <ac:chgData name="Gulati, Natasha (ELS-KUL)" userId="36d5fe54-f594-457f-afe5-125c06205e2f" providerId="ADAL" clId="{31278014-EF2D-4EFA-BB0B-13FD7A0C5A57}" dt="2024-01-18T04:53:52.817" v="6163" actId="20577"/>
          <ac:spMkLst>
            <pc:docMk/>
            <pc:sldMk cId="1860616233" sldId="5241"/>
            <ac:spMk id="5" creationId="{8FC70412-C625-25EF-76D5-E6C1F0603555}"/>
          </ac:spMkLst>
        </pc:spChg>
      </pc:sldChg>
      <pc:sldChg chg="addSp delSp modSp add mod">
        <pc:chgData name="Gulati, Natasha (ELS-KUL)" userId="36d5fe54-f594-457f-afe5-125c06205e2f" providerId="ADAL" clId="{31278014-EF2D-4EFA-BB0B-13FD7A0C5A57}" dt="2024-01-18T08:25:40.344" v="6249" actId="255"/>
        <pc:sldMkLst>
          <pc:docMk/>
          <pc:sldMk cId="2347772085" sldId="5242"/>
        </pc:sldMkLst>
        <pc:spChg chg="mod">
          <ac:chgData name="Gulati, Natasha (ELS-KUL)" userId="36d5fe54-f594-457f-afe5-125c06205e2f" providerId="ADAL" clId="{31278014-EF2D-4EFA-BB0B-13FD7A0C5A57}" dt="2024-01-18T08:19:09.074" v="6224" actId="20577"/>
          <ac:spMkLst>
            <pc:docMk/>
            <pc:sldMk cId="2347772085" sldId="5242"/>
            <ac:spMk id="2" creationId="{4154695E-B0B9-81A8-6E29-506C94929F6D}"/>
          </ac:spMkLst>
        </pc:spChg>
        <pc:spChg chg="add mod">
          <ac:chgData name="Gulati, Natasha (ELS-KUL)" userId="36d5fe54-f594-457f-afe5-125c06205e2f" providerId="ADAL" clId="{31278014-EF2D-4EFA-BB0B-13FD7A0C5A57}" dt="2024-01-18T08:25:40.344" v="6249" actId="255"/>
          <ac:spMkLst>
            <pc:docMk/>
            <pc:sldMk cId="2347772085" sldId="5242"/>
            <ac:spMk id="5" creationId="{30C3FF54-0E4E-1052-463D-BCE2EF996DC5}"/>
          </ac:spMkLst>
        </pc:spChg>
        <pc:spChg chg="del">
          <ac:chgData name="Gulati, Natasha (ELS-KUL)" userId="36d5fe54-f594-457f-afe5-125c06205e2f" providerId="ADAL" clId="{31278014-EF2D-4EFA-BB0B-13FD7A0C5A57}" dt="2024-01-18T08:19:12.592" v="6225" actId="478"/>
          <ac:spMkLst>
            <pc:docMk/>
            <pc:sldMk cId="2347772085" sldId="5242"/>
            <ac:spMk id="8" creationId="{8165D510-0678-BF91-EA7F-187EC9B9229B}"/>
          </ac:spMkLst>
        </pc:spChg>
        <pc:spChg chg="del">
          <ac:chgData name="Gulati, Natasha (ELS-KUL)" userId="36d5fe54-f594-457f-afe5-125c06205e2f" providerId="ADAL" clId="{31278014-EF2D-4EFA-BB0B-13FD7A0C5A57}" dt="2024-01-18T08:19:16.923" v="6226" actId="478"/>
          <ac:spMkLst>
            <pc:docMk/>
            <pc:sldMk cId="2347772085" sldId="5242"/>
            <ac:spMk id="10" creationId="{7CEBB492-54B3-6A9A-C21F-E1BDFCCFC66E}"/>
          </ac:spMkLst>
        </pc:spChg>
      </pc:sldChg>
      <pc:sldChg chg="modSp add mod">
        <pc:chgData name="Gulati, Natasha (ELS-KUL)" userId="36d5fe54-f594-457f-afe5-125c06205e2f" providerId="ADAL" clId="{31278014-EF2D-4EFA-BB0B-13FD7A0C5A57}" dt="2024-01-18T08:25:51.099" v="6251" actId="13926"/>
        <pc:sldMkLst>
          <pc:docMk/>
          <pc:sldMk cId="65152040" sldId="5243"/>
        </pc:sldMkLst>
        <pc:spChg chg="mod">
          <ac:chgData name="Gulati, Natasha (ELS-KUL)" userId="36d5fe54-f594-457f-afe5-125c06205e2f" providerId="ADAL" clId="{31278014-EF2D-4EFA-BB0B-13FD7A0C5A57}" dt="2024-01-18T08:25:51.099" v="6251" actId="13926"/>
          <ac:spMkLst>
            <pc:docMk/>
            <pc:sldMk cId="65152040" sldId="5243"/>
            <ac:spMk id="5" creationId="{30C3FF54-0E4E-1052-463D-BCE2EF996DC5}"/>
          </ac:spMkLst>
        </pc:spChg>
      </pc:sldChg>
      <pc:sldChg chg="modSp add mod">
        <pc:chgData name="Gulati, Natasha (ELS-KUL)" userId="36d5fe54-f594-457f-afe5-125c06205e2f" providerId="ADAL" clId="{31278014-EF2D-4EFA-BB0B-13FD7A0C5A57}" dt="2024-01-18T08:26:47.469" v="6264" actId="20577"/>
        <pc:sldMkLst>
          <pc:docMk/>
          <pc:sldMk cId="751933436" sldId="5244"/>
        </pc:sldMkLst>
        <pc:spChg chg="mod">
          <ac:chgData name="Gulati, Natasha (ELS-KUL)" userId="36d5fe54-f594-457f-afe5-125c06205e2f" providerId="ADAL" clId="{31278014-EF2D-4EFA-BB0B-13FD7A0C5A57}" dt="2024-01-18T08:26:47.469" v="6264" actId="20577"/>
          <ac:spMkLst>
            <pc:docMk/>
            <pc:sldMk cId="751933436" sldId="5244"/>
            <ac:spMk id="5" creationId="{30C3FF54-0E4E-1052-463D-BCE2EF996DC5}"/>
          </ac:spMkLst>
        </pc:spChg>
      </pc:sldChg>
      <pc:sldChg chg="add del">
        <pc:chgData name="Gulati, Natasha (ELS-KUL)" userId="36d5fe54-f594-457f-afe5-125c06205e2f" providerId="ADAL" clId="{31278014-EF2D-4EFA-BB0B-13FD7A0C5A57}" dt="2024-01-18T12:26:38.418" v="6266" actId="47"/>
        <pc:sldMkLst>
          <pc:docMk/>
          <pc:sldMk cId="22120911" sldId="524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5FACC53-DC5A-474D-BF40-5DEE5F8B64A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latin typeface="Arial" panose="020B0604020202020204" pitchFamily="34" charset="0"/>
            </a:endParaRPr>
          </a:p>
        </p:txBody>
      </p:sp>
      <p:sp>
        <p:nvSpPr>
          <p:cNvPr id="3" name="Date Placeholder 2">
            <a:extLst>
              <a:ext uri="{FF2B5EF4-FFF2-40B4-BE49-F238E27FC236}">
                <a16:creationId xmlns:a16="http://schemas.microsoft.com/office/drawing/2014/main" id="{6176045F-ADB6-491B-962A-FF775ED846C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CB6EFF9-8149-4B5D-A6E5-2AE8F4B33535}" type="datetimeFigureOut">
              <a:rPr lang="en-GB" smtClean="0">
                <a:latin typeface="Arial" panose="020B0604020202020204" pitchFamily="34" charset="0"/>
              </a:rPr>
              <a:t>18/01/2024</a:t>
            </a:fld>
            <a:endParaRPr lang="en-GB" dirty="0">
              <a:latin typeface="Arial" panose="020B0604020202020204" pitchFamily="34" charset="0"/>
            </a:endParaRPr>
          </a:p>
        </p:txBody>
      </p:sp>
      <p:sp>
        <p:nvSpPr>
          <p:cNvPr id="4" name="Footer Placeholder 3">
            <a:extLst>
              <a:ext uri="{FF2B5EF4-FFF2-40B4-BE49-F238E27FC236}">
                <a16:creationId xmlns:a16="http://schemas.microsoft.com/office/drawing/2014/main" id="{0523ED0C-AA8B-40BA-B6F3-D505E74CA77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latin typeface="Arial" panose="020B0604020202020204" pitchFamily="34" charset="0"/>
            </a:endParaRPr>
          </a:p>
        </p:txBody>
      </p:sp>
      <p:sp>
        <p:nvSpPr>
          <p:cNvPr id="5" name="Slide Number Placeholder 4">
            <a:extLst>
              <a:ext uri="{FF2B5EF4-FFF2-40B4-BE49-F238E27FC236}">
                <a16:creationId xmlns:a16="http://schemas.microsoft.com/office/drawing/2014/main" id="{7813853D-F1D8-47E4-9768-A371E326179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6E183A-C4E9-47DF-9822-C1FEB6FD02A0}"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4984002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719DD4CF-C917-4D69-9374-6EFF2E9F78C3}" type="datetimeFigureOut">
              <a:rPr lang="en-GB" smtClean="0"/>
              <a:pPr/>
              <a:t>18/01/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A7443C7B-F938-4CE9-A268-32817172635B}" type="slidenum">
              <a:rPr lang="en-GB" smtClean="0"/>
              <a:pPr/>
              <a:t>‹#›</a:t>
            </a:fld>
            <a:endParaRPr lang="en-GB" dirty="0"/>
          </a:p>
        </p:txBody>
      </p:sp>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US" smtClean="0"/>
              <a:pPr/>
              <a:t>1</a:t>
            </a:fld>
            <a:endParaRPr lang="en-US" dirty="0"/>
          </a:p>
        </p:txBody>
      </p:sp>
    </p:spTree>
    <p:extLst>
      <p:ext uri="{BB962C8B-B14F-4D97-AF65-F5344CB8AC3E}">
        <p14:creationId xmlns:p14="http://schemas.microsoft.com/office/powerpoint/2010/main" val="2672144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19</a:t>
            </a:fld>
            <a:endParaRPr lang="en-GB" dirty="0"/>
          </a:p>
        </p:txBody>
      </p:sp>
    </p:spTree>
    <p:extLst>
      <p:ext uri="{BB962C8B-B14F-4D97-AF65-F5344CB8AC3E}">
        <p14:creationId xmlns:p14="http://schemas.microsoft.com/office/powerpoint/2010/main" val="281145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20</a:t>
            </a:fld>
            <a:endParaRPr lang="en-GB" dirty="0"/>
          </a:p>
        </p:txBody>
      </p:sp>
    </p:spTree>
    <p:extLst>
      <p:ext uri="{BB962C8B-B14F-4D97-AF65-F5344CB8AC3E}">
        <p14:creationId xmlns:p14="http://schemas.microsoft.com/office/powerpoint/2010/main" val="29238745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21</a:t>
            </a:fld>
            <a:endParaRPr lang="en-GB" dirty="0"/>
          </a:p>
        </p:txBody>
      </p:sp>
    </p:spTree>
    <p:extLst>
      <p:ext uri="{BB962C8B-B14F-4D97-AF65-F5344CB8AC3E}">
        <p14:creationId xmlns:p14="http://schemas.microsoft.com/office/powerpoint/2010/main" val="21194143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22</a:t>
            </a:fld>
            <a:endParaRPr lang="en-GB" dirty="0"/>
          </a:p>
        </p:txBody>
      </p:sp>
    </p:spTree>
    <p:extLst>
      <p:ext uri="{BB962C8B-B14F-4D97-AF65-F5344CB8AC3E}">
        <p14:creationId xmlns:p14="http://schemas.microsoft.com/office/powerpoint/2010/main" val="515595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27</a:t>
            </a:fld>
            <a:endParaRPr lang="en-US" dirty="0"/>
          </a:p>
        </p:txBody>
      </p:sp>
    </p:spTree>
    <p:extLst>
      <p:ext uri="{BB962C8B-B14F-4D97-AF65-F5344CB8AC3E}">
        <p14:creationId xmlns:p14="http://schemas.microsoft.com/office/powerpoint/2010/main" val="25059969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30</a:t>
            </a:fld>
            <a:endParaRPr lang="en-GB" dirty="0"/>
          </a:p>
        </p:txBody>
      </p:sp>
    </p:spTree>
    <p:extLst>
      <p:ext uri="{BB962C8B-B14F-4D97-AF65-F5344CB8AC3E}">
        <p14:creationId xmlns:p14="http://schemas.microsoft.com/office/powerpoint/2010/main" val="39803719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31</a:t>
            </a:fld>
            <a:endParaRPr lang="en-GB" dirty="0"/>
          </a:p>
        </p:txBody>
      </p:sp>
    </p:spTree>
    <p:extLst>
      <p:ext uri="{BB962C8B-B14F-4D97-AF65-F5344CB8AC3E}">
        <p14:creationId xmlns:p14="http://schemas.microsoft.com/office/powerpoint/2010/main" val="15610554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16" name="Text Placeholder 9"/>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631053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904437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dirty="0"/>
              <a:t>Click to add text</a:t>
            </a:r>
          </a:p>
          <a:p>
            <a:pPr lvl="2"/>
            <a:r>
              <a:rPr lang="en-US" dirty="0"/>
              <a:t>Second level</a:t>
            </a:r>
          </a:p>
          <a:p>
            <a:pPr lvl="3"/>
            <a:r>
              <a:rPr lang="en-US" dirty="0"/>
              <a:t>Third level</a:t>
            </a:r>
          </a:p>
          <a:p>
            <a:pPr lvl="4"/>
            <a:r>
              <a:rPr lang="en-US" dirty="0"/>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US"/>
              <a:t>Click to edit Master title style</a:t>
            </a:r>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069957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 </a:t>
            </a:r>
            <a:br>
              <a:rPr lang="en-US" noProof="0" dirty="0"/>
            </a:br>
            <a:r>
              <a:rPr lang="en-US" noProof="0" dirty="0"/>
              <a:t>or click icon to add</a:t>
            </a:r>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23183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a:t>
            </a:r>
            <a:br>
              <a:rPr lang="en-US" noProof="0" dirty="0"/>
            </a:br>
            <a:r>
              <a:rPr lang="en-US" noProof="0" dirty="0"/>
              <a:t>or click icon to add</a:t>
            </a:r>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r>
              <a:rPr lang="en-US"/>
              <a:t>Click to edit Master title style</a:t>
            </a:r>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1927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2994"/>
            </a:avLst>
          </a:prstGeom>
          <a:solidFill>
            <a:schemeClr val="accent6"/>
          </a:solidFill>
          <a:effectLst>
            <a:outerShdw blurRad="139700" dist="12700" dir="2700000" sx="101000" sy="101000" algn="t" rotWithShape="0">
              <a:srgbClr val="353535">
                <a:alpha val="41000"/>
              </a:srgbClr>
            </a:outerShdw>
          </a:effectLst>
          <a:extLst>
            <a:ext uri="{53640926-AAD7-44D8-BBD7-CCE9431645EC}">
              <a14:shadowObscured xmlns:a14="http://schemas.microsoft.com/office/drawing/2010/main"/>
            </a:ext>
          </a:extLst>
        </p:spPr>
        <p:txBody>
          <a:bodyPr lIns="0" tIns="2196000" rIns="0" bIns="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73736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80318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246A4B26-CBD6-4EC3-9BB2-03D1059EC06C}"/>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3147"/>
            </a:avLst>
          </a:prstGeom>
          <a:solidFill>
            <a:schemeClr val="accent6"/>
          </a:solidFill>
          <a:effectLst>
            <a:outerShdw blurRad="139700" dist="12700" dir="2700000" sx="101000" sy="101000" algn="ctr" rotWithShape="0">
              <a:prstClr val="black">
                <a:alpha val="41000"/>
              </a:prstClr>
            </a:outerShdw>
          </a:effectLst>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6478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088000"/>
          <a:lstStyle>
            <a:lvl1pPr marL="0" indent="0" algn="ctr">
              <a:buNone/>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dirty="0"/>
              <a:t>Drag picture to placeholder or click icon to add</a:t>
            </a:r>
          </a:p>
        </p:txBody>
      </p:sp>
    </p:spTree>
    <p:extLst>
      <p:ext uri="{BB962C8B-B14F-4D97-AF65-F5344CB8AC3E}">
        <p14:creationId xmlns:p14="http://schemas.microsoft.com/office/powerpoint/2010/main" val="393162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dirty="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0050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US"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78201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4533" y="2325818"/>
            <a:ext cx="2929467" cy="2817682"/>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accent2"/>
                </a:solidFill>
              </a:defRPr>
            </a:lvl1pPr>
          </a:lstStyle>
          <a:p>
            <a:r>
              <a:rPr lang="en-US" dirty="0"/>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93781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noProof="0" dirty="0"/>
              <a:t>Drag picture into placeholder</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C8A7EB86-3F9E-4A42-81FA-F215DE6BC51F}"/>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bg1"/>
                </a:solidFill>
              </a:defRPr>
            </a:lvl1pPr>
          </a:lstStyle>
          <a:p>
            <a:r>
              <a:rPr lang="en-US" dirty="0"/>
              <a:t>“Quote”</a:t>
            </a:r>
          </a:p>
        </p:txBody>
      </p:sp>
    </p:spTree>
    <p:extLst>
      <p:ext uri="{BB962C8B-B14F-4D97-AF65-F5344CB8AC3E}">
        <p14:creationId xmlns:p14="http://schemas.microsoft.com/office/powerpoint/2010/main" val="219503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dirty="0"/>
              <a:t>Drag </a:t>
            </a:r>
            <a:r>
              <a:rPr lang="en-US" noProof="0" dirty="0"/>
              <a:t>picture</a:t>
            </a:r>
            <a:r>
              <a:rPr lang="en-US" dirty="0"/>
              <a:t> into placeholder</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628E9124-E359-49E6-A14A-2497E35E512E}"/>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tx1"/>
                </a:solidFill>
              </a:defRPr>
            </a:lvl1pPr>
          </a:lstStyle>
          <a:p>
            <a:r>
              <a:rPr lang="en-US" dirty="0"/>
              <a:t>“Quot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tx1"/>
                </a:solidFill>
                <a:latin typeface="+mj-lt"/>
                <a:ea typeface="+mj-ea"/>
                <a:cs typeface="+mj-cs"/>
              </a:defRPr>
            </a:lvl1pPr>
          </a:lstStyle>
          <a:p>
            <a:pPr lvl="0"/>
            <a:r>
              <a:rPr lang="en-US" dirty="0"/>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Department</a:t>
            </a:r>
            <a:br>
              <a:rPr lang="en-US" dirty="0"/>
            </a:br>
            <a:r>
              <a:rPr lang="en-US" dirty="0"/>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7" name="Text Placeholder 9">
            <a:extLst>
              <a:ext uri="{FF2B5EF4-FFF2-40B4-BE49-F238E27FC236}">
                <a16:creationId xmlns:a16="http://schemas.microsoft.com/office/drawing/2014/main" id="{6A798CCC-F599-47BC-84EE-8CAA3D22063C}"/>
              </a:ext>
            </a:extLst>
          </p:cNvPr>
          <p:cNvSpPr>
            <a:spLocks noGrp="1"/>
          </p:cNvSpPr>
          <p:nvPr>
            <p:ph type="body" sz="quarter" idx="16"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94609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32835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5020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8C401EA3-16A6-47D3-9D6E-A27DFE2287E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208898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87061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lvl1pPr>
              <a:tabLst>
                <a:tab pos="1079500" algn="l"/>
              </a:tabLst>
              <a:defRPr/>
            </a:lvl1pPr>
          </a:lstStyle>
          <a:p>
            <a:endParaRPr lang="en-US"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5521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66820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endParaRPr lang="en-US" dirty="0"/>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9" name="Text Placeholder 9">
            <a:extLst>
              <a:ext uri="{FF2B5EF4-FFF2-40B4-BE49-F238E27FC236}">
                <a16:creationId xmlns:a16="http://schemas.microsoft.com/office/drawing/2014/main" id="{4FCEF2CD-9A3A-421B-94C9-614952CA20BC}"/>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33929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bg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Click to edit title</a:t>
            </a:r>
            <a:br>
              <a:rPr lang="en-US"/>
            </a:br>
            <a:r>
              <a:rPr lang="en-US"/>
              <a:t>max over 2 lines</a:t>
            </a:r>
            <a:endParaRPr lang="en-US" dirty="0"/>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a:t>Subtitle</a:t>
            </a:r>
            <a:endParaRPr lang="en-US" dirty="0"/>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pic>
        <p:nvPicPr>
          <p:cNvPr id="34" name="Graphic 33">
            <a:extLst>
              <a:ext uri="{FF2B5EF4-FFF2-40B4-BE49-F238E27FC236}">
                <a16:creationId xmlns:a16="http://schemas.microsoft.com/office/drawing/2014/main" id="{9B5CBCDE-5E13-4C2D-BD2B-A7F04116F6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35181"/>
          <a:stretch/>
        </p:blipFill>
        <p:spPr>
          <a:xfrm>
            <a:off x="0" y="-1"/>
            <a:ext cx="9144000" cy="797661"/>
          </a:xfrm>
          <a:prstGeom prst="rect">
            <a:avLst/>
          </a:prstGeom>
        </p:spPr>
      </p:pic>
    </p:spTree>
    <p:extLst>
      <p:ext uri="{BB962C8B-B14F-4D97-AF65-F5344CB8AC3E}">
        <p14:creationId xmlns:p14="http://schemas.microsoft.com/office/powerpoint/2010/main" val="206181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a:defRPr lang="en-GB" dirty="0"/>
            </a:lvl1pPr>
          </a:lstStyle>
          <a:p>
            <a:pPr marL="285750" lvl="0" indent="-285750">
              <a:lnSpc>
                <a:spcPct val="100000"/>
              </a:lnSpc>
            </a:pPr>
            <a:r>
              <a:rPr lang="en-US"/>
              <a:t>Click to edit Master text styles</a:t>
            </a:r>
            <a:endParaRPr lang="en-US" dirty="0"/>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a:t>Agenda</a:t>
            </a:r>
            <a:endParaRPr lang="en-US" dirty="0"/>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89195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18214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97234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2597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430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7" name="Text Placeholder 9">
            <a:extLst>
              <a:ext uri="{FF2B5EF4-FFF2-40B4-BE49-F238E27FC236}">
                <a16:creationId xmlns:a16="http://schemas.microsoft.com/office/drawing/2014/main" id="{F59E71B1-F750-4435-986C-7F9EF2056098}"/>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89929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a:t>Click to add text</a:t>
            </a:r>
          </a:p>
          <a:p>
            <a:pPr lvl="2"/>
            <a:r>
              <a:rPr lang="en-US"/>
              <a:t>Second level</a:t>
            </a:r>
          </a:p>
          <a:p>
            <a:pPr lvl="3"/>
            <a:r>
              <a:rPr lang="en-US"/>
              <a:t>Third level</a:t>
            </a:r>
          </a:p>
          <a:p>
            <a:pPr lvl="4"/>
            <a:r>
              <a:rPr lang="en-US"/>
              <a:t>Fourth level</a:t>
            </a:r>
            <a:endParaRPr lang="en-US" dirty="0"/>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4036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 </a:t>
            </a:r>
            <a:br>
              <a:rPr lang="en-US" noProof="0"/>
            </a:br>
            <a:r>
              <a:rPr lang="en-US" noProof="0"/>
              <a:t>or click icon to add</a:t>
            </a:r>
            <a:endParaRPr lang="en-US" noProof="0" dirty="0"/>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400392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a:t>
            </a:r>
            <a:br>
              <a:rPr lang="en-US" noProof="0"/>
            </a:br>
            <a:r>
              <a:rPr lang="en-US" noProof="0"/>
              <a:t>or click icon to add</a:t>
            </a:r>
            <a:endParaRPr lang="en-US" noProof="0" dirty="0"/>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74561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4346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4402"/>
            </a:avLst>
          </a:prstGeom>
          <a:solidFill>
            <a:schemeClr val="accent6"/>
          </a:solidFill>
          <a:effectLst/>
          <a:extLst>
            <a:ext uri="{53640926-AAD7-44D8-BBD7-CCE9431645EC}">
              <a14:shadowObscured xmlns:a14="http://schemas.microsoft.com/office/drawing/2010/main"/>
            </a:ext>
          </a:extLst>
        </p:spPr>
        <p:txBody>
          <a:bodyPr lIns="0" tIns="2232000" rIns="0" bIns="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dirty="0"/>
          </a:p>
        </p:txBody>
      </p:sp>
    </p:spTree>
    <p:extLst>
      <p:ext uri="{BB962C8B-B14F-4D97-AF65-F5344CB8AC3E}">
        <p14:creationId xmlns:p14="http://schemas.microsoft.com/office/powerpoint/2010/main" val="370293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49770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4626"/>
            </a:avLst>
          </a:prstGeom>
          <a:solidFill>
            <a:schemeClr val="accent6"/>
          </a:solidFill>
          <a:effectLst/>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95825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232000"/>
          <a:lstStyle>
            <a:lvl1pPr marL="0" indent="0" algn="ctr">
              <a:buNone/>
              <a:defRPr>
                <a:solidFill>
                  <a:schemeClr val="tx1"/>
                </a:solidFill>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picture to placeholder or click icon to add</a:t>
            </a:r>
            <a:endParaRPr lang="en-US" noProof="0" dirty="0"/>
          </a:p>
        </p:txBody>
      </p:sp>
    </p:spTree>
    <p:extLst>
      <p:ext uri="{BB962C8B-B14F-4D97-AF65-F5344CB8AC3E}">
        <p14:creationId xmlns:p14="http://schemas.microsoft.com/office/powerpoint/2010/main" val="356652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movie to placeholder or click icon to add</a:t>
            </a:r>
            <a:endParaRPr lang="en-US" noProof="0" dirty="0"/>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48403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US"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72896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477043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EEE115E-9A03-449B-92F1-3CD40794A0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57900" y="2057400"/>
            <a:ext cx="3086100" cy="3086100"/>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0" indent="0">
              <a:lnSpc>
                <a:spcPct val="100000"/>
              </a:lnSpc>
              <a:defRPr sz="3600" baseline="0">
                <a:solidFill>
                  <a:schemeClr val="bg1"/>
                </a:solidFill>
              </a:defRPr>
            </a:lvl1pPr>
          </a:lstStyle>
          <a:p>
            <a:r>
              <a:rPr lang="en-US"/>
              <a:t>“Quote”</a:t>
            </a:r>
            <a:endParaRPr lang="en-US" dirty="0"/>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60114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noProof="0"/>
              <a:t>Drag picture into placeholder</a:t>
            </a:r>
            <a:endParaRPr lang="en-US" noProof="0"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chemeClr val="bg1"/>
                </a:solidFill>
              </a:defRPr>
            </a:lvl1pPr>
          </a:lstStyle>
          <a:p>
            <a:r>
              <a:rPr lang="en-US"/>
              <a:t>“Quote”</a:t>
            </a:r>
            <a:endParaRPr lang="en-US" dirty="0"/>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1465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a:t>Drag </a:t>
            </a:r>
            <a:r>
              <a:rPr lang="en-US" noProof="0"/>
              <a:t>picture</a:t>
            </a:r>
            <a:r>
              <a:rPr lang="en-US"/>
              <a:t> into placeholder</a:t>
            </a:r>
            <a:endParaRPr lang="en-US"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rgbClr val="53565A"/>
                </a:solidFill>
              </a:defRPr>
            </a:lvl1pPr>
          </a:lstStyle>
          <a:p>
            <a:r>
              <a:rPr lang="en-US"/>
              <a:t>“Quote”</a:t>
            </a:r>
            <a:endParaRPr lang="en-US" dirty="0"/>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65552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bg1"/>
                </a:solidFill>
                <a:latin typeface="+mj-lt"/>
                <a:ea typeface="+mj-ea"/>
                <a:cs typeface="+mj-cs"/>
              </a:defRPr>
            </a:lvl1pPr>
          </a:lstStyle>
          <a:p>
            <a:pPr lvl="0"/>
            <a:r>
              <a:rPr lang="en-US"/>
              <a:t>Closing line</a:t>
            </a:r>
            <a:endParaRPr lang="en-US" dirty="0"/>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endParaRPr lang="en-US" dirty="0"/>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6" name="Text Placeholder 9">
            <a:extLst>
              <a:ext uri="{FF2B5EF4-FFF2-40B4-BE49-F238E27FC236}">
                <a16:creationId xmlns:a16="http://schemas.microsoft.com/office/drawing/2014/main" id="{AC1E151E-40BD-4BA6-BA47-B4CC88EEAB33}"/>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88265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8815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01642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17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97943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76029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and gray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89931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grayscl/>
            <a:extLst>
              <a:ext uri="{28A0092B-C50C-407E-A947-70E740481C1C}">
                <a14:useLocalDpi xmlns:a14="http://schemas.microsoft.com/office/drawing/2010/main" val="0"/>
              </a:ext>
            </a:extLst>
          </a:blip>
          <a:srcRect/>
          <a:stretch/>
        </p:blipFill>
        <p:spPr>
          <a:xfrm>
            <a:off x="-1" y="0"/>
            <a:ext cx="9138993" cy="797661"/>
          </a:xfrm>
          <a:prstGeom prst="rect">
            <a:avLst/>
          </a:prstGeom>
        </p:spPr>
      </p:pic>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Click to edit title</a:t>
            </a:r>
            <a:br>
              <a:rPr lang="en-US" dirty="0"/>
            </a:br>
            <a:r>
              <a:rPr lang="en-US" dirty="0"/>
              <a:t>max over 2 lines</a:t>
            </a:r>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dirty="0"/>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marL="288000" indent="-288000">
              <a:defRPr lang="en-GB" dirty="0"/>
            </a:lvl1pPr>
          </a:lstStyle>
          <a:p>
            <a:pPr marL="285750" lvl="0" indent="-285750">
              <a:lnSpc>
                <a:spcPct val="100000"/>
              </a:lnSpc>
            </a:pPr>
            <a:r>
              <a:rPr lang="en-US"/>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dirty="0"/>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26260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30.xml"/><Relationship Id="rId7" Type="http://schemas.openxmlformats.org/officeDocument/2006/relationships/image" Target="../media/image1.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2.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4.sv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image" Target="../media/image3.png"/><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56.xml"/><Relationship Id="rId7" Type="http://schemas.openxmlformats.org/officeDocument/2006/relationships/image" Target="../media/image3.pn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4.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dirty="0"/>
          </a:p>
        </p:txBody>
      </p:sp>
      <p:pic>
        <p:nvPicPr>
          <p:cNvPr id="8" name="Picture 7">
            <a:extLst>
              <a:ext uri="{FF2B5EF4-FFF2-40B4-BE49-F238E27FC236}">
                <a16:creationId xmlns:a16="http://schemas.microsoft.com/office/drawing/2014/main" id="{B4928590-4084-6B40-8DED-B4F8C98BED1B}"/>
              </a:ext>
            </a:extLst>
          </p:cNvPr>
          <p:cNvPicPr>
            <a:picLocks noChangeAspect="1"/>
          </p:cNvPicPr>
          <p:nvPr userDrawn="1"/>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a:stretch/>
        </p:blipFill>
        <p:spPr>
          <a:xfrm>
            <a:off x="8567737" y="198501"/>
            <a:ext cx="401839" cy="443408"/>
          </a:xfrm>
          <a:prstGeom prst="rect">
            <a:avLst/>
          </a:prstGeom>
        </p:spPr>
      </p:pic>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a:t>Click to edit Master title style</a:t>
            </a:r>
            <a:endParaRPr lang="en-US" noProof="0" dirty="0"/>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702" r:id="rId2"/>
    <p:sldLayoutId id="2147483803" r:id="rId3"/>
    <p:sldLayoutId id="2147483660" r:id="rId4"/>
    <p:sldLayoutId id="2147483802" r:id="rId5"/>
    <p:sldLayoutId id="2147483804" r:id="rId6"/>
    <p:sldLayoutId id="2147483701" r:id="rId7"/>
    <p:sldLayoutId id="2147483734" r:id="rId8"/>
    <p:sldLayoutId id="2147483650" r:id="rId9"/>
    <p:sldLayoutId id="2147483735" r:id="rId10"/>
    <p:sldLayoutId id="2147483708" r:id="rId11"/>
    <p:sldLayoutId id="2147483662" r:id="rId12"/>
    <p:sldLayoutId id="2147483703" r:id="rId13"/>
    <p:sldLayoutId id="2147483696" r:id="rId14"/>
    <p:sldLayoutId id="2147483663" r:id="rId15"/>
    <p:sldLayoutId id="2147483698" r:id="rId16"/>
    <p:sldLayoutId id="2147483699" r:id="rId17"/>
    <p:sldLayoutId id="2147483737" r:id="rId18"/>
    <p:sldLayoutId id="2147483666" r:id="rId19"/>
    <p:sldLayoutId id="2147483736" r:id="rId20"/>
    <p:sldLayoutId id="2147483738" r:id="rId21"/>
    <p:sldLayoutId id="2147483767" r:id="rId22"/>
    <p:sldLayoutId id="2147483669" r:id="rId23"/>
    <p:sldLayoutId id="2147483665" r:id="rId24"/>
    <p:sldLayoutId id="2147483664" r:id="rId25"/>
    <p:sldLayoutId id="2147483709" r:id="rId26"/>
    <p:sldLayoutId id="2147483670"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dirty="0"/>
          </a:p>
        </p:txBody>
      </p:sp>
      <p:pic>
        <p:nvPicPr>
          <p:cNvPr id="10" name="Picture 7">
            <a:extLst>
              <a:ext uri="{FF2B5EF4-FFF2-40B4-BE49-F238E27FC236}">
                <a16:creationId xmlns:a16="http://schemas.microsoft.com/office/drawing/2014/main" id="{8D5161C8-EE77-4377-B6B1-7E9C29CB9F0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67737" y="198501"/>
            <a:ext cx="401839" cy="443408"/>
          </a:xfrm>
          <a:prstGeom prst="rect">
            <a:avLst/>
          </a:prstGeom>
        </p:spPr>
      </p:pic>
    </p:spTree>
    <p:extLst>
      <p:ext uri="{BB962C8B-B14F-4D97-AF65-F5344CB8AC3E}">
        <p14:creationId xmlns:p14="http://schemas.microsoft.com/office/powerpoint/2010/main" val="2310582144"/>
      </p:ext>
    </p:extLst>
  </p:cSld>
  <p:clrMap bg1="lt1" tx1="dk1" bg2="lt2" tx2="dk2" accent1="accent1" accent2="accent2" accent3="accent3" accent4="accent4" accent5="accent5" accent6="accent6" hlink="hlink" folHlink="folHlink"/>
  <p:sldLayoutIdLst>
    <p:sldLayoutId id="2147483789" r:id="rId1"/>
    <p:sldLayoutId id="2147483788" r:id="rId2"/>
    <p:sldLayoutId id="2147483792" r:id="rId3"/>
    <p:sldLayoutId id="2147483790" r:id="rId4"/>
    <p:sldLayoutId id="2147483791"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dirty="0"/>
          </a:p>
        </p:txBody>
      </p:sp>
      <p:pic>
        <p:nvPicPr>
          <p:cNvPr id="8" name="Picture 7">
            <a:extLst>
              <a:ext uri="{FF2B5EF4-FFF2-40B4-BE49-F238E27FC236}">
                <a16:creationId xmlns:a16="http://schemas.microsoft.com/office/drawing/2014/main" id="{BD2B5B76-D48B-486B-B148-17C02F22EB4C}"/>
              </a:ext>
            </a:extLst>
          </p:cNvPr>
          <p:cNvPicPr>
            <a:picLocks noChangeAspect="1"/>
          </p:cNvPicPr>
          <p:nvPr userDrawn="1"/>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1272544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801" r:id="rId16"/>
    <p:sldLayoutId id="2147483762" r:id="rId17"/>
    <p:sldLayoutId id="2147483763" r:id="rId18"/>
    <p:sldLayoutId id="2147483764" r:id="rId19"/>
    <p:sldLayoutId id="2147483765" r:id="rId20"/>
    <p:sldLayoutId id="2147483766"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dirty="0"/>
          </a:p>
        </p:txBody>
      </p:sp>
      <p:pic>
        <p:nvPicPr>
          <p:cNvPr id="8" name="Picture 7">
            <a:extLst>
              <a:ext uri="{FF2B5EF4-FFF2-40B4-BE49-F238E27FC236}">
                <a16:creationId xmlns:a16="http://schemas.microsoft.com/office/drawing/2014/main" id="{682B01DC-AA4B-4B09-A9C1-2490348EB468}"/>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266107276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hyperlink" Target="https://www.clinicalkey.com/student/content/book/3-s2.0-B9788131264737000263#hl0000312"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www.clinicalkey.com/student/content/book/3-s2.0-B9788131264737000263#hl0000348" TargetMode="Externa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hyperlink" Target="https://www.clinicalkey.com/student/content/book/3-s2.0-B9788131264737000263#hl0000356" TargetMode="Externa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hyperlink" Target="https://www.clinicalkey.com/student/content/book/3-s2.0-B9788131264737000263#hl0000356" TargetMode="Externa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hyperlink" Target="https://www.clinicalkey.com/student/content/book/3-s2.0-B9788131264737000263#hl0000404" TargetMode="Externa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hyperlink" Target="https://www.clinicalkey.com/student/content/book/3-s2.0-B9788131264737000263#hl0000312" TargetMode="Externa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hyperlink" Target="https://www.clinicalkey.com/student/content/book/3-s2.0-B9780323358194000121#hl0000073" TargetMode="Externa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linicalkey.com/student/content/video/23-s2.0-mm_9780323798662_0019" TargetMode="Externa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hyperlink" Target="https://www.clinicalkey.com/student/content/book/3-s2.0-B9788131265994500463#hl0001227" TargetMode="Externa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hyperlink" Target="https://www.clinicalkey.com/student/test/#/browseQuestions" TargetMode="External"/><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hyperlink" Target="https://www.clinicalkey.com/student/test/#/browseQuestions" TargetMode="External"/><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hyperlink" Target="https://www.clinicalkey.com/student/test/#/browseQuestions" TargetMode="External"/><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hyperlink" Target="https://www.clinicalkey.com/student/test/#/browseQuestions" TargetMode="External"/><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www.clinicalkey.com/student/content/video/23-s2.0-mm_9780323798716_0001" TargetMode="Externa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linicalkey.com/student/content/video/23-s2.0-mm_9780323798662_0021" TargetMode="Externa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osmosis.org/learn/Cardiac_cycle" TargetMode="External"/><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0.xml"/><Relationship Id="rId5" Type="http://schemas.openxmlformats.org/officeDocument/2006/relationships/image" Target="../media/image18.png"/><Relationship Id="rId4" Type="http://schemas.openxmlformats.org/officeDocument/2006/relationships/image" Target="../media/image17.png"/></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0.xml"/><Relationship Id="rId5" Type="http://schemas.openxmlformats.org/officeDocument/2006/relationships/image" Target="../media/image21.png"/><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8" Type="http://schemas.openxmlformats.org/officeDocument/2006/relationships/hyperlink" Target="https://www.clinicalkey.com/student/content/book/3-s2.0-B9780323930383000411#hl0000200" TargetMode="External"/><Relationship Id="rId3" Type="http://schemas.openxmlformats.org/officeDocument/2006/relationships/hyperlink" Target="https://www.clinicalkey.com/student/content/book/3-s2.0-B9780323930383000411#hl0000126" TargetMode="External"/><Relationship Id="rId7" Type="http://schemas.openxmlformats.org/officeDocument/2006/relationships/hyperlink" Target="https://www.clinicalkey.com/student/content/book/3-s2.0-B9780323930383000411#hl0000196" TargetMode="External"/><Relationship Id="rId2" Type="http://schemas.openxmlformats.org/officeDocument/2006/relationships/hyperlink" Target="https://www.clinicalkey.com/student/content/book/3-s2.0-B9780323930383000411#hl0000119" TargetMode="External"/><Relationship Id="rId1" Type="http://schemas.openxmlformats.org/officeDocument/2006/relationships/slideLayout" Target="../slideLayouts/slideLayout11.xml"/><Relationship Id="rId6" Type="http://schemas.openxmlformats.org/officeDocument/2006/relationships/hyperlink" Target="https://www.clinicalkey.com/student/content/book/3-s2.0-B9780323930383000411#hl0000185" TargetMode="External"/><Relationship Id="rId5" Type="http://schemas.openxmlformats.org/officeDocument/2006/relationships/hyperlink" Target="https://www.clinicalkey.com/student/content/book/3-s2.0-B9780323930383000411#hl0000145" TargetMode="External"/><Relationship Id="rId4" Type="http://schemas.openxmlformats.org/officeDocument/2006/relationships/hyperlink" Target="https://www.clinicalkey.com/student/content/book/3-s2.0-B9780323930383000411#hl0000138"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www.clinicalkey.com/student/content/book/3-s2.0-B9780323930383000411#hl0000200" TargetMode="External"/><Relationship Id="rId3" Type="http://schemas.openxmlformats.org/officeDocument/2006/relationships/hyperlink" Target="https://www.clinicalkey.com/student/content/book/3-s2.0-B9780323930383000411#hl0000126" TargetMode="External"/><Relationship Id="rId7" Type="http://schemas.openxmlformats.org/officeDocument/2006/relationships/hyperlink" Target="https://www.clinicalkey.com/student/content/book/3-s2.0-B9780323930383000411#hl0000196" TargetMode="External"/><Relationship Id="rId2" Type="http://schemas.openxmlformats.org/officeDocument/2006/relationships/hyperlink" Target="https://www.clinicalkey.com/student/content/book/3-s2.0-B9780323930383000411#hl0000119" TargetMode="External"/><Relationship Id="rId1" Type="http://schemas.openxmlformats.org/officeDocument/2006/relationships/slideLayout" Target="../slideLayouts/slideLayout11.xml"/><Relationship Id="rId6" Type="http://schemas.openxmlformats.org/officeDocument/2006/relationships/hyperlink" Target="https://www.clinicalkey.com/student/content/book/3-s2.0-B9780323930383000411#hl0000185" TargetMode="External"/><Relationship Id="rId5" Type="http://schemas.openxmlformats.org/officeDocument/2006/relationships/hyperlink" Target="https://www.clinicalkey.com/student/content/book/3-s2.0-B9780323930383000411#hl0000145" TargetMode="External"/><Relationship Id="rId4" Type="http://schemas.openxmlformats.org/officeDocument/2006/relationships/hyperlink" Target="https://www.clinicalkey.com/student/content/book/3-s2.0-B9780323930383000411#hl0000138"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hyperlink" Target="https://www.clinicalkey.com/student/content/book/3-s2.0-B9780323930383000411#hl0000223" TargetMode="External"/><Relationship Id="rId2" Type="http://schemas.openxmlformats.org/officeDocument/2006/relationships/hyperlink" Target="https://www.clinicalkey.com/student/content/book/3-s2.0-B978813126560400048X#hl0000128" TargetMode="Externa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hyperlink" Target="https://www.clinicalkey.com/student/content/book/3-s2.0-B9780323930383000411#hl0000223" TargetMode="External"/><Relationship Id="rId2" Type="http://schemas.openxmlformats.org/officeDocument/2006/relationships/hyperlink" Target="https://www.clinicalkey.com/student/content/book/3-s2.0-B978813126560400048X#hl0000128" TargetMode="Externa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hyperlink" Target="https://www.clinicalkey.com/student/content/book/3-s2.0-B9780323930383000411#hl0000286" TargetMode="Externa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FD8347-4804-47F1-98FB-1E11456E58E5}"/>
              </a:ext>
            </a:extLst>
          </p:cNvPr>
          <p:cNvSpPr>
            <a:spLocks noGrp="1"/>
          </p:cNvSpPr>
          <p:nvPr>
            <p:ph type="body" sz="quarter" idx="14"/>
          </p:nvPr>
        </p:nvSpPr>
        <p:spPr/>
        <p:txBody>
          <a:bodyPr/>
          <a:lstStyle/>
          <a:p>
            <a:r>
              <a:rPr lang="en-US" dirty="0"/>
              <a:t>January 2024</a:t>
            </a:r>
          </a:p>
          <a:p>
            <a:r>
              <a:rPr lang="en-US" dirty="0"/>
              <a:t>Elsevier Health, India</a:t>
            </a:r>
          </a:p>
        </p:txBody>
      </p:sp>
      <p:sp>
        <p:nvSpPr>
          <p:cNvPr id="2" name="Title 1">
            <a:extLst>
              <a:ext uri="{FF2B5EF4-FFF2-40B4-BE49-F238E27FC236}">
                <a16:creationId xmlns:a16="http://schemas.microsoft.com/office/drawing/2014/main" id="{A546164F-14D7-4C97-AFFF-0E08E038243D}"/>
              </a:ext>
            </a:extLst>
          </p:cNvPr>
          <p:cNvSpPr>
            <a:spLocks noGrp="1"/>
          </p:cNvSpPr>
          <p:nvPr>
            <p:ph type="ctrTitle"/>
          </p:nvPr>
        </p:nvSpPr>
        <p:spPr/>
        <p:txBody>
          <a:bodyPr/>
          <a:lstStyle/>
          <a:p>
            <a:r>
              <a:rPr lang="en-US" dirty="0"/>
              <a:t>Sample Lecture on Cardiac Cycle</a:t>
            </a:r>
          </a:p>
        </p:txBody>
      </p:sp>
      <p:sp>
        <p:nvSpPr>
          <p:cNvPr id="9" name="Text Placeholder 8">
            <a:extLst>
              <a:ext uri="{FF2B5EF4-FFF2-40B4-BE49-F238E27FC236}">
                <a16:creationId xmlns:a16="http://schemas.microsoft.com/office/drawing/2014/main" id="{1A9378B2-982B-4C37-BEC6-9E2229210620}"/>
              </a:ext>
            </a:extLst>
          </p:cNvPr>
          <p:cNvSpPr>
            <a:spLocks noGrp="1"/>
          </p:cNvSpPr>
          <p:nvPr>
            <p:ph type="body" sz="quarter" idx="16"/>
          </p:nvPr>
        </p:nvSpPr>
        <p:spPr/>
        <p:txBody>
          <a:bodyPr/>
          <a:lstStyle/>
          <a:p>
            <a:r>
              <a:rPr lang="en-US" dirty="0">
                <a:highlight>
                  <a:srgbClr val="FFFF00"/>
                </a:highlight>
              </a:rPr>
              <a:t>University Name</a:t>
            </a:r>
          </a:p>
        </p:txBody>
      </p:sp>
      <p:sp>
        <p:nvSpPr>
          <p:cNvPr id="3" name="Text Placeholder 2">
            <a:extLst>
              <a:ext uri="{FF2B5EF4-FFF2-40B4-BE49-F238E27FC236}">
                <a16:creationId xmlns:a16="http://schemas.microsoft.com/office/drawing/2014/main" id="{8D43E2E1-D8D0-428F-9CE1-98FD10199A0F}"/>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63758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Atrial Systole</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4737000263#hl0000312</a:t>
            </a:r>
            <a:r>
              <a:rPr lang="en-US" sz="800" b="0" i="0" dirty="0">
                <a:solidFill>
                  <a:srgbClr val="2E2E2E"/>
                </a:solidFill>
                <a:effectLst/>
                <a:latin typeface="ElsevierSansWeb"/>
              </a:rPr>
              <a:t> </a:t>
            </a:r>
            <a:endParaRPr lang="en-US" sz="800" dirty="0"/>
          </a:p>
        </p:txBody>
      </p:sp>
      <p:sp>
        <p:nvSpPr>
          <p:cNvPr id="3" name="Text Placeholder 1">
            <a:extLst>
              <a:ext uri="{FF2B5EF4-FFF2-40B4-BE49-F238E27FC236}">
                <a16:creationId xmlns:a16="http://schemas.microsoft.com/office/drawing/2014/main" id="{9FBF65EB-41FA-C149-8065-CEF7B93F11AC}"/>
              </a:ext>
            </a:extLst>
          </p:cNvPr>
          <p:cNvSpPr txBox="1">
            <a:spLocks/>
          </p:cNvSpPr>
          <p:nvPr/>
        </p:nvSpPr>
        <p:spPr>
          <a:xfrm>
            <a:off x="576263" y="835026"/>
            <a:ext cx="8431103"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Before the beginning of atrial systole, the ventricles are relaxing,  AV valves are open and the blood is flowing from the great veins into the atria and from the atria into the ventricles. Thus, the atria and ventricles form a continuous cavity.</a:t>
            </a:r>
          </a:p>
          <a:p>
            <a:pPr marL="285750" indent="-285750"/>
            <a:r>
              <a:rPr lang="en-US" sz="1400" dirty="0"/>
              <a:t>Coincides with last rapid filling phase</a:t>
            </a:r>
          </a:p>
          <a:p>
            <a:pPr marL="285750" indent="-285750"/>
            <a:r>
              <a:rPr lang="en-US" sz="1400" dirty="0"/>
              <a:t>Increase in intra-atrial pressure – sharp increase in pressure, 4-6mmHg in RA, 7-8mmHg, LA. Pressure wave recorded as a-wave.</a:t>
            </a:r>
          </a:p>
          <a:p>
            <a:pPr marL="285750" indent="-285750"/>
            <a:r>
              <a:rPr lang="en-US" sz="1400" dirty="0"/>
              <a:t>Intraventricular pressure rises due to filling of blood in the ventricles (not due to contraction) to 6-7mmHg in RV, 7-8mmHg in LV.</a:t>
            </a:r>
          </a:p>
          <a:p>
            <a:pPr marL="285750" indent="-285750"/>
            <a:r>
              <a:rPr lang="en-US" sz="1400" dirty="0"/>
              <a:t>When the atrial contraction begins about 105 mL (75%) of the blood has already flown into the ventricles. The atrial contraction causes additional 25 mL (25%) filling of the ventricles. Thus, at the end of atrial systole (also the end of ventricular diastole), ventricular volume is about 130 mL (EDV). </a:t>
            </a:r>
          </a:p>
        </p:txBody>
      </p:sp>
    </p:spTree>
    <p:extLst>
      <p:ext uri="{BB962C8B-B14F-4D97-AF65-F5344CB8AC3E}">
        <p14:creationId xmlns:p14="http://schemas.microsoft.com/office/powerpoint/2010/main" val="351824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Atrial Diastole</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4737000263#hl0000348</a:t>
            </a:r>
            <a:r>
              <a:rPr lang="en-US" sz="800" b="0" i="0" dirty="0">
                <a:solidFill>
                  <a:srgbClr val="2E2E2E"/>
                </a:solidFill>
                <a:effectLst/>
                <a:latin typeface="ElsevierSansWeb"/>
              </a:rPr>
              <a:t> </a:t>
            </a:r>
            <a:endParaRPr lang="en-US" sz="800" dirty="0"/>
          </a:p>
        </p:txBody>
      </p:sp>
      <p:sp>
        <p:nvSpPr>
          <p:cNvPr id="3" name="Text Placeholder 1">
            <a:extLst>
              <a:ext uri="{FF2B5EF4-FFF2-40B4-BE49-F238E27FC236}">
                <a16:creationId xmlns:a16="http://schemas.microsoft.com/office/drawing/2014/main" id="{9FBF65EB-41FA-C149-8065-CEF7B93F11AC}"/>
              </a:ext>
            </a:extLst>
          </p:cNvPr>
          <p:cNvSpPr txBox="1">
            <a:spLocks/>
          </p:cNvSpPr>
          <p:nvPr/>
        </p:nvSpPr>
        <p:spPr>
          <a:xfrm>
            <a:off x="576263" y="835026"/>
            <a:ext cx="8431103"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Just after atrial systole</a:t>
            </a:r>
          </a:p>
          <a:p>
            <a:pPr marL="285750" indent="-285750"/>
            <a:r>
              <a:rPr lang="en-US" sz="1400" dirty="0"/>
              <a:t>Lasts for 0.7s and coincides with ventricular systole and majority of ventricular diastole</a:t>
            </a:r>
          </a:p>
          <a:p>
            <a:pPr marL="285750" indent="-285750"/>
            <a:r>
              <a:rPr lang="en-US" sz="1400" dirty="0"/>
              <a:t>Atrial muscles relax with gradual filling of the atria with blood. The pressure gradually increases in the atria and then drops due to opening of the AV valves.</a:t>
            </a:r>
          </a:p>
          <a:p>
            <a:pPr marL="285750" indent="-285750"/>
            <a:r>
              <a:rPr lang="en-US" sz="1400" dirty="0"/>
              <a:t>Then the pressure again rises and follows the ventricular pressure during the rest of atrial diastole.</a:t>
            </a:r>
          </a:p>
        </p:txBody>
      </p:sp>
    </p:spTree>
    <p:extLst>
      <p:ext uri="{BB962C8B-B14F-4D97-AF65-F5344CB8AC3E}">
        <p14:creationId xmlns:p14="http://schemas.microsoft.com/office/powerpoint/2010/main" val="127860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Ventricular Systole</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4737000263#hl0000356</a:t>
            </a:r>
            <a:r>
              <a:rPr lang="en-US" sz="800" b="0" i="0" dirty="0">
                <a:solidFill>
                  <a:srgbClr val="2E2E2E"/>
                </a:solidFill>
                <a:effectLst/>
                <a:latin typeface="ElsevierSansWeb"/>
              </a:rPr>
              <a:t> </a:t>
            </a:r>
            <a:endParaRPr lang="en-US" sz="800" dirty="0"/>
          </a:p>
        </p:txBody>
      </p:sp>
      <p:sp>
        <p:nvSpPr>
          <p:cNvPr id="3" name="Text Placeholder 1">
            <a:extLst>
              <a:ext uri="{FF2B5EF4-FFF2-40B4-BE49-F238E27FC236}">
                <a16:creationId xmlns:a16="http://schemas.microsoft.com/office/drawing/2014/main" id="{9FBF65EB-41FA-C149-8065-CEF7B93F11AC}"/>
              </a:ext>
            </a:extLst>
          </p:cNvPr>
          <p:cNvSpPr txBox="1">
            <a:spLocks/>
          </p:cNvSpPr>
          <p:nvPr/>
        </p:nvSpPr>
        <p:spPr>
          <a:xfrm>
            <a:off x="576263" y="835026"/>
            <a:ext cx="8431103" cy="300091"/>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Lasts 0.3s. Includes these phases:</a:t>
            </a:r>
          </a:p>
        </p:txBody>
      </p:sp>
      <p:sp>
        <p:nvSpPr>
          <p:cNvPr id="4" name="Rectangle 3">
            <a:extLst>
              <a:ext uri="{FF2B5EF4-FFF2-40B4-BE49-F238E27FC236}">
                <a16:creationId xmlns:a16="http://schemas.microsoft.com/office/drawing/2014/main" id="{8F54388D-F914-0965-049B-E486D96E4A23}"/>
              </a:ext>
            </a:extLst>
          </p:cNvPr>
          <p:cNvSpPr/>
          <p:nvPr/>
        </p:nvSpPr>
        <p:spPr>
          <a:xfrm>
            <a:off x="576263" y="1135116"/>
            <a:ext cx="8431103" cy="187084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400" dirty="0">
                <a:solidFill>
                  <a:schemeClr val="tx1">
                    <a:lumMod val="75000"/>
                  </a:schemeClr>
                </a:solidFill>
              </a:rPr>
              <a:t>Phase I</a:t>
            </a:r>
          </a:p>
          <a:p>
            <a:pPr algn="ctr"/>
            <a:r>
              <a:rPr lang="en-US" sz="1400" dirty="0">
                <a:solidFill>
                  <a:schemeClr val="tx1">
                    <a:lumMod val="75000"/>
                  </a:schemeClr>
                </a:solidFill>
              </a:rPr>
              <a:t>Isovolumic Contraction (0.05s)</a:t>
            </a:r>
          </a:p>
          <a:p>
            <a:pPr marL="115888" indent="-115888">
              <a:buFont typeface="Arial" panose="020B0604020202020204" pitchFamily="34" charset="0"/>
              <a:buChar char="•"/>
            </a:pPr>
            <a:r>
              <a:rPr lang="en-US" sz="1400" dirty="0">
                <a:solidFill>
                  <a:schemeClr val="tx1">
                    <a:lumMod val="75000"/>
                  </a:schemeClr>
                </a:solidFill>
              </a:rPr>
              <a:t>Ventricular pressure exceeds atrial pressure causing rapid closure of AV valves (</a:t>
            </a:r>
            <a:r>
              <a:rPr lang="en-US" sz="1400" u="sng" dirty="0">
                <a:solidFill>
                  <a:schemeClr val="tx1">
                    <a:lumMod val="75000"/>
                  </a:schemeClr>
                </a:solidFill>
              </a:rPr>
              <a:t>first heart sound</a:t>
            </a:r>
            <a:r>
              <a:rPr lang="en-US" sz="1400" dirty="0">
                <a:solidFill>
                  <a:schemeClr val="tx1">
                    <a:lumMod val="75000"/>
                  </a:schemeClr>
                </a:solidFill>
              </a:rPr>
              <a:t>)</a:t>
            </a:r>
          </a:p>
          <a:p>
            <a:pPr marL="115888" indent="-115888">
              <a:buFont typeface="Arial" panose="020B0604020202020204" pitchFamily="34" charset="0"/>
              <a:buChar char="•"/>
            </a:pPr>
            <a:r>
              <a:rPr lang="en-US" sz="1400" dirty="0">
                <a:solidFill>
                  <a:schemeClr val="tx1">
                    <a:lumMod val="75000"/>
                  </a:schemeClr>
                </a:solidFill>
              </a:rPr>
              <a:t>AV and semilunar valves closed so pressure increases in the ventricles due to contraction.</a:t>
            </a:r>
          </a:p>
          <a:p>
            <a:pPr marL="115888" indent="-115888">
              <a:buFont typeface="Arial" panose="020B0604020202020204" pitchFamily="34" charset="0"/>
              <a:buChar char="•"/>
            </a:pPr>
            <a:r>
              <a:rPr lang="en-US" sz="1400" i="1" dirty="0">
                <a:solidFill>
                  <a:schemeClr val="tx1">
                    <a:lumMod val="75000"/>
                  </a:schemeClr>
                </a:solidFill>
              </a:rPr>
              <a:t>Isovolumic</a:t>
            </a:r>
            <a:r>
              <a:rPr lang="en-US" sz="1400" dirty="0">
                <a:solidFill>
                  <a:schemeClr val="tx1">
                    <a:lumMod val="75000"/>
                  </a:schemeClr>
                </a:solidFill>
              </a:rPr>
              <a:t> = no change in blood volume.</a:t>
            </a:r>
          </a:p>
          <a:p>
            <a:pPr marL="115888" indent="-115888">
              <a:buFont typeface="Arial" panose="020B0604020202020204" pitchFamily="34" charset="0"/>
              <a:buChar char="•"/>
            </a:pPr>
            <a:r>
              <a:rPr lang="en-US" sz="1400" dirty="0">
                <a:solidFill>
                  <a:schemeClr val="tx1">
                    <a:lumMod val="75000"/>
                  </a:schemeClr>
                </a:solidFill>
              </a:rPr>
              <a:t>Due to pressure AV valves bulge into the atria causing slight increase in pressure (</a:t>
            </a:r>
            <a:r>
              <a:rPr lang="en-US" sz="1400" i="1" dirty="0">
                <a:solidFill>
                  <a:schemeClr val="tx1">
                    <a:lumMod val="75000"/>
                  </a:schemeClr>
                </a:solidFill>
              </a:rPr>
              <a:t>c-wave</a:t>
            </a:r>
            <a:r>
              <a:rPr lang="en-US" sz="1400" dirty="0">
                <a:solidFill>
                  <a:schemeClr val="tx1">
                    <a:lumMod val="75000"/>
                  </a:schemeClr>
                </a:solidFill>
              </a:rPr>
              <a:t>).</a:t>
            </a:r>
          </a:p>
          <a:p>
            <a:pPr marL="115888" indent="-115888">
              <a:buFont typeface="Arial" panose="020B0604020202020204" pitchFamily="34" charset="0"/>
              <a:buChar char="•"/>
            </a:pPr>
            <a:r>
              <a:rPr lang="en-US" sz="1400" dirty="0">
                <a:solidFill>
                  <a:schemeClr val="tx1">
                    <a:lumMod val="75000"/>
                  </a:schemeClr>
                </a:solidFill>
              </a:rPr>
              <a:t>Lasts until pressure in LV and RV exceeds aorta (80mmHg) and pulmonary artery (10mmHg) and valves open.</a:t>
            </a:r>
          </a:p>
        </p:txBody>
      </p:sp>
      <p:sp>
        <p:nvSpPr>
          <p:cNvPr id="6" name="Rectangle 5">
            <a:extLst>
              <a:ext uri="{FF2B5EF4-FFF2-40B4-BE49-F238E27FC236}">
                <a16:creationId xmlns:a16="http://schemas.microsoft.com/office/drawing/2014/main" id="{603B20FB-89AE-0067-42F1-43370C33E044}"/>
              </a:ext>
            </a:extLst>
          </p:cNvPr>
          <p:cNvSpPr/>
          <p:nvPr/>
        </p:nvSpPr>
        <p:spPr>
          <a:xfrm>
            <a:off x="557048" y="3140454"/>
            <a:ext cx="8431103" cy="15261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400" dirty="0">
                <a:solidFill>
                  <a:schemeClr val="tx1">
                    <a:lumMod val="75000"/>
                  </a:schemeClr>
                </a:solidFill>
              </a:rPr>
              <a:t>Phase II</a:t>
            </a:r>
          </a:p>
          <a:p>
            <a:pPr algn="ctr"/>
            <a:r>
              <a:rPr lang="en-US" sz="1400" dirty="0">
                <a:solidFill>
                  <a:schemeClr val="tx1">
                    <a:lumMod val="75000"/>
                  </a:schemeClr>
                </a:solidFill>
              </a:rPr>
              <a:t>Ventricular Ejection (0.25s)</a:t>
            </a:r>
          </a:p>
          <a:p>
            <a:pPr marL="115888" indent="-115888">
              <a:buFont typeface="Arial" panose="020B0604020202020204" pitchFamily="34" charset="0"/>
              <a:buChar char="•"/>
            </a:pPr>
            <a:r>
              <a:rPr lang="en-US" sz="1400" dirty="0">
                <a:solidFill>
                  <a:schemeClr val="tx1">
                    <a:lumMod val="75000"/>
                  </a:schemeClr>
                </a:solidFill>
              </a:rPr>
              <a:t>Semilunar valves open</a:t>
            </a:r>
          </a:p>
          <a:p>
            <a:pPr marL="115888" indent="-115888">
              <a:buFont typeface="Arial" panose="020B0604020202020204" pitchFamily="34" charset="0"/>
              <a:buChar char="•"/>
            </a:pPr>
            <a:r>
              <a:rPr lang="en-US" sz="1400" dirty="0">
                <a:solidFill>
                  <a:schemeClr val="tx1">
                    <a:lumMod val="75000"/>
                  </a:schemeClr>
                </a:solidFill>
              </a:rPr>
              <a:t>Rapid Ejection – 2/3*SV (89ml) blood rapidly ejects out because semilunar valves open. Ventricles contracting faster than blood ejection, hence increase in pressure to max 12mmHg in LV and 25mmHG in RV.</a:t>
            </a:r>
          </a:p>
        </p:txBody>
      </p:sp>
    </p:spTree>
    <p:extLst>
      <p:ext uri="{BB962C8B-B14F-4D97-AF65-F5344CB8AC3E}">
        <p14:creationId xmlns:p14="http://schemas.microsoft.com/office/powerpoint/2010/main" val="3167691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Ventricular Systole</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4737000263#hl0000356</a:t>
            </a:r>
            <a:r>
              <a:rPr lang="en-US" sz="800" b="0" i="0" dirty="0">
                <a:solidFill>
                  <a:srgbClr val="2E2E2E"/>
                </a:solidFill>
                <a:effectLst/>
                <a:latin typeface="ElsevierSansWeb"/>
              </a:rPr>
              <a:t> </a:t>
            </a:r>
            <a:endParaRPr lang="en-US" sz="800" dirty="0"/>
          </a:p>
        </p:txBody>
      </p:sp>
      <p:sp>
        <p:nvSpPr>
          <p:cNvPr id="3" name="Text Placeholder 1">
            <a:extLst>
              <a:ext uri="{FF2B5EF4-FFF2-40B4-BE49-F238E27FC236}">
                <a16:creationId xmlns:a16="http://schemas.microsoft.com/office/drawing/2014/main" id="{9FBF65EB-41FA-C149-8065-CEF7B93F11AC}"/>
              </a:ext>
            </a:extLst>
          </p:cNvPr>
          <p:cNvSpPr txBox="1">
            <a:spLocks/>
          </p:cNvSpPr>
          <p:nvPr/>
        </p:nvSpPr>
        <p:spPr>
          <a:xfrm>
            <a:off x="576263" y="835026"/>
            <a:ext cx="8431103" cy="300091"/>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Lasts 0.3s. Includes these phases:</a:t>
            </a:r>
          </a:p>
        </p:txBody>
      </p:sp>
      <p:sp>
        <p:nvSpPr>
          <p:cNvPr id="6" name="Rectangle 5">
            <a:extLst>
              <a:ext uri="{FF2B5EF4-FFF2-40B4-BE49-F238E27FC236}">
                <a16:creationId xmlns:a16="http://schemas.microsoft.com/office/drawing/2014/main" id="{603B20FB-89AE-0067-42F1-43370C33E044}"/>
              </a:ext>
            </a:extLst>
          </p:cNvPr>
          <p:cNvSpPr/>
          <p:nvPr/>
        </p:nvSpPr>
        <p:spPr>
          <a:xfrm>
            <a:off x="557048" y="1164514"/>
            <a:ext cx="8431103" cy="15261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400" dirty="0">
                <a:solidFill>
                  <a:schemeClr val="tx1">
                    <a:lumMod val="75000"/>
                  </a:schemeClr>
                </a:solidFill>
              </a:rPr>
              <a:t>Phase II</a:t>
            </a:r>
          </a:p>
          <a:p>
            <a:pPr algn="ctr"/>
            <a:r>
              <a:rPr lang="en-US" sz="1400" dirty="0">
                <a:solidFill>
                  <a:schemeClr val="tx1">
                    <a:lumMod val="75000"/>
                  </a:schemeClr>
                </a:solidFill>
              </a:rPr>
              <a:t>Ventricular Ejection (0.25s)</a:t>
            </a:r>
          </a:p>
          <a:p>
            <a:pPr marL="115888" indent="-115888">
              <a:buFont typeface="Arial" panose="020B0604020202020204" pitchFamily="34" charset="0"/>
              <a:buChar char="•"/>
            </a:pPr>
            <a:r>
              <a:rPr lang="en-US" sz="1400" dirty="0">
                <a:solidFill>
                  <a:schemeClr val="tx1">
                    <a:lumMod val="75000"/>
                  </a:schemeClr>
                </a:solidFill>
              </a:rPr>
              <a:t>Slow Ejection – 0.15s. Rate of ejection declines. Ventricular contraction stops. Pressure starts declining. 1/3*SV ejected. Intraventricular pressure starts declining and falls to a value slightly lower than in the aorta. Aortic pressure, which was rising during rapid ejection, also starts falling. </a:t>
            </a:r>
          </a:p>
          <a:p>
            <a:pPr marL="115888" indent="-115888">
              <a:buFont typeface="Arial" panose="020B0604020202020204" pitchFamily="34" charset="0"/>
              <a:buChar char="•"/>
            </a:pPr>
            <a:r>
              <a:rPr lang="en-US" sz="1400" dirty="0">
                <a:solidFill>
                  <a:schemeClr val="tx1">
                    <a:lumMod val="75000"/>
                  </a:schemeClr>
                </a:solidFill>
              </a:rPr>
              <a:t>About 50ml of the blood in each ventricle at the end of ventricular systole is called </a:t>
            </a:r>
            <a:r>
              <a:rPr lang="en-US" sz="1400" i="1" dirty="0">
                <a:solidFill>
                  <a:schemeClr val="tx1">
                    <a:lumMod val="75000"/>
                  </a:schemeClr>
                </a:solidFill>
              </a:rPr>
              <a:t>end-systolic volume </a:t>
            </a:r>
          </a:p>
        </p:txBody>
      </p:sp>
    </p:spTree>
    <p:extLst>
      <p:ext uri="{BB962C8B-B14F-4D97-AF65-F5344CB8AC3E}">
        <p14:creationId xmlns:p14="http://schemas.microsoft.com/office/powerpoint/2010/main" val="1331965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Ventricular Diastole</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4737000263#hl0000404</a:t>
            </a:r>
            <a:r>
              <a:rPr lang="en-US" sz="800" b="0" i="0" dirty="0">
                <a:solidFill>
                  <a:srgbClr val="2E2E2E"/>
                </a:solidFill>
                <a:effectLst/>
                <a:latin typeface="ElsevierSansWeb"/>
              </a:rPr>
              <a:t> </a:t>
            </a:r>
            <a:endParaRPr lang="en-US" sz="800" dirty="0"/>
          </a:p>
        </p:txBody>
      </p:sp>
      <p:sp>
        <p:nvSpPr>
          <p:cNvPr id="3" name="Text Placeholder 1">
            <a:extLst>
              <a:ext uri="{FF2B5EF4-FFF2-40B4-BE49-F238E27FC236}">
                <a16:creationId xmlns:a16="http://schemas.microsoft.com/office/drawing/2014/main" id="{9FBF65EB-41FA-C149-8065-CEF7B93F11AC}"/>
              </a:ext>
            </a:extLst>
          </p:cNvPr>
          <p:cNvSpPr txBox="1">
            <a:spLocks/>
          </p:cNvSpPr>
          <p:nvPr/>
        </p:nvSpPr>
        <p:spPr>
          <a:xfrm>
            <a:off x="576263" y="835026"/>
            <a:ext cx="8431103"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400050" indent="-400050">
              <a:buFont typeface="+mj-lt"/>
              <a:buAutoNum type="romanUcPeriod"/>
            </a:pPr>
            <a:r>
              <a:rPr lang="en-US" sz="1400" dirty="0" err="1"/>
              <a:t>Protodiastole</a:t>
            </a:r>
            <a:r>
              <a:rPr lang="en-US" sz="1400" dirty="0"/>
              <a:t> – 0.04s. Ventricular systole ends, ventricles relax, intraventricular pressure falls. Elevated pressure in the distended arteries (aorta and pulmonary artery) immediately pushes the blood back towards ventricles. Semilunar valves close. Closing of semilunar valves pushes blood back into the ventricles and makes </a:t>
            </a:r>
            <a:r>
              <a:rPr lang="en-US" sz="1400" u="sng" dirty="0"/>
              <a:t>second heart sound</a:t>
            </a:r>
            <a:r>
              <a:rPr lang="en-US" sz="1400" dirty="0"/>
              <a:t>.</a:t>
            </a:r>
          </a:p>
          <a:p>
            <a:pPr marL="400050" indent="-400050">
              <a:buFont typeface="+mj-lt"/>
              <a:buAutoNum type="romanUcPeriod"/>
            </a:pPr>
            <a:r>
              <a:rPr lang="en-US" sz="1400" dirty="0"/>
              <a:t>Isovolumic Relaxation - Semilunar valves have closed and the AV valves have not yet opened, so the ventricles continue to relax as closed chambers. Rapid fall in pressure from 80mmHg to 2-3mmHg in LV. Aortic pressure declines until another ventricular systole boosts the aortic pressure again. Phase ends when AV valves open (</a:t>
            </a:r>
            <a:r>
              <a:rPr lang="en-US" sz="1400" i="1" dirty="0"/>
              <a:t>v-wave </a:t>
            </a:r>
            <a:r>
              <a:rPr lang="en-US" sz="1400" dirty="0"/>
              <a:t>on the atrial pressure curve).</a:t>
            </a:r>
          </a:p>
          <a:p>
            <a:pPr marL="400050" indent="-400050">
              <a:buFont typeface="+mj-lt"/>
              <a:buAutoNum type="romanUcPeriod"/>
            </a:pPr>
            <a:r>
              <a:rPr lang="en-US" sz="1400" dirty="0"/>
              <a:t>Rapid Passive Filling – 0.11s. Atria in diastole, venous return brings blood into the atria and pressure rises. When the AV valves open, the high atrial pressure causes a rapid, initial flow of blood into the ventricles (</a:t>
            </a:r>
            <a:r>
              <a:rPr lang="en-US" sz="1400" u="sng" dirty="0"/>
              <a:t>third heart sound</a:t>
            </a:r>
            <a:r>
              <a:rPr lang="en-US" sz="1400" dirty="0"/>
              <a:t>). Once the AV valves open, the atria and ventricles are a common chamber and pressure in both cavities falls as ventricular relaxation continues.</a:t>
            </a:r>
          </a:p>
          <a:p>
            <a:pPr marL="400050" indent="-400050">
              <a:buFont typeface="+mj-lt"/>
              <a:buAutoNum type="romanUcPeriod"/>
            </a:pPr>
            <a:r>
              <a:rPr lang="en-US" sz="1400" dirty="0"/>
              <a:t>Reduced Filling and Diastasis – 0.19s. Pressure in atria and ventricles reduces slowly to just above zero. Decreases the rate of blood flow from the atria to ventricle causing a very slow filling called diastasis.</a:t>
            </a:r>
          </a:p>
          <a:p>
            <a:pPr marL="400050" indent="-400050">
              <a:buFont typeface="+mj-lt"/>
              <a:buAutoNum type="romanUcPeriod"/>
            </a:pPr>
            <a:r>
              <a:rPr lang="en-US" sz="1400" dirty="0"/>
              <a:t>Last Rapid Filling – 0.1s. Ventricular diastole coincides with atrial systole. Atrial systole brings about the last rapid filling phase and pushes the additional 25% of the blood in the ventricles.</a:t>
            </a:r>
          </a:p>
        </p:txBody>
      </p:sp>
    </p:spTree>
    <p:extLst>
      <p:ext uri="{BB962C8B-B14F-4D97-AF65-F5344CB8AC3E}">
        <p14:creationId xmlns:p14="http://schemas.microsoft.com/office/powerpoint/2010/main" val="514584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Full Cycle Pressure Curve and ECG</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4737000263#hl0000312</a:t>
            </a:r>
            <a:r>
              <a:rPr lang="en-US" sz="800" b="0" i="0" dirty="0">
                <a:solidFill>
                  <a:srgbClr val="2E2E2E"/>
                </a:solidFill>
                <a:effectLst/>
                <a:latin typeface="ElsevierSansWeb"/>
              </a:rPr>
              <a:t> </a:t>
            </a:r>
            <a:endParaRPr lang="en-US" sz="800" dirty="0"/>
          </a:p>
        </p:txBody>
      </p:sp>
      <p:sp>
        <p:nvSpPr>
          <p:cNvPr id="4" name="TextBox 3">
            <a:extLst>
              <a:ext uri="{FF2B5EF4-FFF2-40B4-BE49-F238E27FC236}">
                <a16:creationId xmlns:a16="http://schemas.microsoft.com/office/drawing/2014/main" id="{A17CCBC8-0054-1FA6-DA3A-BDB2C49BFB68}"/>
              </a:ext>
            </a:extLst>
          </p:cNvPr>
          <p:cNvSpPr txBox="1"/>
          <p:nvPr/>
        </p:nvSpPr>
        <p:spPr>
          <a:xfrm>
            <a:off x="5833241" y="578069"/>
            <a:ext cx="1965435" cy="369332"/>
          </a:xfrm>
          <a:prstGeom prst="rect">
            <a:avLst/>
          </a:prstGeom>
          <a:solidFill>
            <a:srgbClr val="FDD300"/>
          </a:solidFill>
        </p:spPr>
        <p:txBody>
          <a:bodyPr wrap="square" rtlCol="0">
            <a:spAutoFit/>
          </a:bodyPr>
          <a:lstStyle/>
          <a:p>
            <a:r>
              <a:rPr lang="en-US" dirty="0"/>
              <a:t>Insert diagram</a:t>
            </a:r>
          </a:p>
        </p:txBody>
      </p:sp>
    </p:spTree>
    <p:extLst>
      <p:ext uri="{BB962C8B-B14F-4D97-AF65-F5344CB8AC3E}">
        <p14:creationId xmlns:p14="http://schemas.microsoft.com/office/powerpoint/2010/main" val="286389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Wigger’s Diagram</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0323358194000121#hl0000073</a:t>
            </a:r>
            <a:r>
              <a:rPr lang="en-US" sz="800" b="0" i="0" dirty="0">
                <a:solidFill>
                  <a:srgbClr val="2E2E2E"/>
                </a:solidFill>
                <a:effectLst/>
                <a:latin typeface="ElsevierSansWeb"/>
              </a:rPr>
              <a:t> </a:t>
            </a:r>
            <a:endParaRPr lang="en-US" sz="800" dirty="0"/>
          </a:p>
        </p:txBody>
      </p:sp>
      <p:sp>
        <p:nvSpPr>
          <p:cNvPr id="4" name="TextBox 3">
            <a:extLst>
              <a:ext uri="{FF2B5EF4-FFF2-40B4-BE49-F238E27FC236}">
                <a16:creationId xmlns:a16="http://schemas.microsoft.com/office/drawing/2014/main" id="{A17CCBC8-0054-1FA6-DA3A-BDB2C49BFB68}"/>
              </a:ext>
            </a:extLst>
          </p:cNvPr>
          <p:cNvSpPr txBox="1"/>
          <p:nvPr/>
        </p:nvSpPr>
        <p:spPr>
          <a:xfrm>
            <a:off x="5833241" y="578069"/>
            <a:ext cx="1965435" cy="369332"/>
          </a:xfrm>
          <a:prstGeom prst="rect">
            <a:avLst/>
          </a:prstGeom>
          <a:solidFill>
            <a:srgbClr val="FDD300"/>
          </a:solidFill>
        </p:spPr>
        <p:txBody>
          <a:bodyPr wrap="square" rtlCol="0">
            <a:spAutoFit/>
          </a:bodyPr>
          <a:lstStyle/>
          <a:p>
            <a:r>
              <a:rPr lang="en-US" dirty="0"/>
              <a:t>Insert diagram</a:t>
            </a:r>
          </a:p>
        </p:txBody>
      </p:sp>
      <p:sp>
        <p:nvSpPr>
          <p:cNvPr id="3" name="Text Placeholder 1">
            <a:extLst>
              <a:ext uri="{FF2B5EF4-FFF2-40B4-BE49-F238E27FC236}">
                <a16:creationId xmlns:a16="http://schemas.microsoft.com/office/drawing/2014/main" id="{055AA582-BD31-75BB-BF35-B7D58AD2A1DE}"/>
              </a:ext>
            </a:extLst>
          </p:cNvPr>
          <p:cNvSpPr txBox="1">
            <a:spLocks/>
          </p:cNvSpPr>
          <p:nvPr/>
        </p:nvSpPr>
        <p:spPr>
          <a:xfrm>
            <a:off x="576263" y="2984938"/>
            <a:ext cx="8431103" cy="1747400"/>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0" indent="0">
              <a:buNone/>
            </a:pPr>
            <a:r>
              <a:rPr lang="en-US" sz="1400" dirty="0"/>
              <a:t>The cardiac cycle (or Wiggers diagram) is a simultaneous depiction of several parameters related to blood flow and volume, the electrocardiogram, and the echocardiogram through a cycle of cardiac systole and diastole. Ventricular systole begins with a short period of isovolumetric contraction, during which all of the heart valves are closed. This period is followed by the ejection phase of systole and then isovolumetric relaxation, when the heart valves are again all closed. Cardiac filling occurs after isovolumetric relaxation. The temporal relationships between features of these various curves or tracings are predictable, based on functional relationships within the cycle. The a, c, and v waves are identified on both the venous pulse and atrial pressure curves.</a:t>
            </a:r>
          </a:p>
        </p:txBody>
      </p:sp>
    </p:spTree>
    <p:extLst>
      <p:ext uri="{BB962C8B-B14F-4D97-AF65-F5344CB8AC3E}">
        <p14:creationId xmlns:p14="http://schemas.microsoft.com/office/powerpoint/2010/main" val="1860616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Cardiac Cycle Summary</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video/23-s2.0-mm_9780323798662_0019</a:t>
            </a:r>
            <a:r>
              <a:rPr lang="en-US" sz="800" b="0" i="0" dirty="0">
                <a:solidFill>
                  <a:srgbClr val="2E2E2E"/>
                </a:solidFill>
                <a:effectLst/>
                <a:latin typeface="ElsevierSansWeb"/>
              </a:rPr>
              <a:t> </a:t>
            </a:r>
            <a:endParaRPr lang="en-US" sz="800" dirty="0"/>
          </a:p>
        </p:txBody>
      </p:sp>
      <p:pic>
        <p:nvPicPr>
          <p:cNvPr id="4" name="Picture 3">
            <a:extLst>
              <a:ext uri="{FF2B5EF4-FFF2-40B4-BE49-F238E27FC236}">
                <a16:creationId xmlns:a16="http://schemas.microsoft.com/office/drawing/2014/main" id="{52CF269C-362B-5715-8510-8DBDCE51C9B4}"/>
              </a:ext>
            </a:extLst>
          </p:cNvPr>
          <p:cNvPicPr>
            <a:picLocks noChangeAspect="1"/>
          </p:cNvPicPr>
          <p:nvPr/>
        </p:nvPicPr>
        <p:blipFill>
          <a:blip r:embed="rId3"/>
          <a:stretch>
            <a:fillRect/>
          </a:stretch>
        </p:blipFill>
        <p:spPr>
          <a:xfrm>
            <a:off x="576263" y="700088"/>
            <a:ext cx="7264454" cy="4102826"/>
          </a:xfrm>
          <a:prstGeom prst="rect">
            <a:avLst/>
          </a:prstGeom>
        </p:spPr>
      </p:pic>
    </p:spTree>
    <p:extLst>
      <p:ext uri="{BB962C8B-B14F-4D97-AF65-F5344CB8AC3E}">
        <p14:creationId xmlns:p14="http://schemas.microsoft.com/office/powerpoint/2010/main" val="1099671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Kahoot Quiz During Class</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Exam Questions</a:t>
            </a:r>
            <a:endParaRPr lang="en-US" sz="800" dirty="0"/>
          </a:p>
        </p:txBody>
      </p:sp>
      <p:graphicFrame>
        <p:nvGraphicFramePr>
          <p:cNvPr id="3" name="Table 2">
            <a:extLst>
              <a:ext uri="{FF2B5EF4-FFF2-40B4-BE49-F238E27FC236}">
                <a16:creationId xmlns:a16="http://schemas.microsoft.com/office/drawing/2014/main" id="{8E627212-18A2-3D04-24EF-BB816AAEB7D6}"/>
              </a:ext>
            </a:extLst>
          </p:cNvPr>
          <p:cNvGraphicFramePr>
            <a:graphicFrameLocks noGrp="1"/>
          </p:cNvGraphicFramePr>
          <p:nvPr>
            <p:extLst>
              <p:ext uri="{D42A27DB-BD31-4B8C-83A1-F6EECF244321}">
                <p14:modId xmlns:p14="http://schemas.microsoft.com/office/powerpoint/2010/main" val="3487772880"/>
              </p:ext>
            </p:extLst>
          </p:nvPr>
        </p:nvGraphicFramePr>
        <p:xfrm>
          <a:off x="576263" y="700088"/>
          <a:ext cx="3333585" cy="1259840"/>
        </p:xfrm>
        <a:graphic>
          <a:graphicData uri="http://schemas.openxmlformats.org/drawingml/2006/table">
            <a:tbl>
              <a:tblPr firstRow="1" bandRow="1">
                <a:tableStyleId>{BFEA419B-BCDB-4C27-8AB2-1E94C2BD932B}</a:tableStyleId>
              </a:tblPr>
              <a:tblGrid>
                <a:gridCol w="1567847">
                  <a:extLst>
                    <a:ext uri="{9D8B030D-6E8A-4147-A177-3AD203B41FA5}">
                      <a16:colId xmlns:a16="http://schemas.microsoft.com/office/drawing/2014/main" val="2165110993"/>
                    </a:ext>
                  </a:extLst>
                </a:gridCol>
                <a:gridCol w="1765738">
                  <a:extLst>
                    <a:ext uri="{9D8B030D-6E8A-4147-A177-3AD203B41FA5}">
                      <a16:colId xmlns:a16="http://schemas.microsoft.com/office/drawing/2014/main" val="2970800840"/>
                    </a:ext>
                  </a:extLst>
                </a:gridCol>
              </a:tblGrid>
              <a:tr h="370840">
                <a:tc gridSpan="2">
                  <a:txBody>
                    <a:bodyPr/>
                    <a:lstStyle/>
                    <a:p>
                      <a:r>
                        <a:rPr lang="en-US" sz="1400" dirty="0"/>
                        <a:t>Duration of cardiac cycle </a:t>
                      </a:r>
                      <a:r>
                        <a:rPr lang="en-US" sz="1400" b="1" i="0" kern="1200" dirty="0">
                          <a:solidFill>
                            <a:schemeClr val="dk1"/>
                          </a:solidFill>
                          <a:effectLst/>
                          <a:latin typeface="+mn-lt"/>
                          <a:ea typeface="+mn-ea"/>
                          <a:cs typeface="+mn-cs"/>
                        </a:rPr>
                        <a:t>at heart rate of 80 beats per minute is:</a:t>
                      </a:r>
                      <a:endParaRPr lang="en-US" sz="1400" dirty="0"/>
                    </a:p>
                  </a:txBody>
                  <a:tcPr/>
                </a:tc>
                <a:tc hMerge="1">
                  <a:txBody>
                    <a:bodyPr/>
                    <a:lstStyle/>
                    <a:p>
                      <a:endParaRPr lang="en-US" dirty="0"/>
                    </a:p>
                  </a:txBody>
                  <a:tcPr/>
                </a:tc>
                <a:extLst>
                  <a:ext uri="{0D108BD9-81ED-4DB2-BD59-A6C34878D82A}">
                    <a16:rowId xmlns:a16="http://schemas.microsoft.com/office/drawing/2014/main" val="1143505775"/>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A 0.65 sec</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highlight>
                            <a:srgbClr val="FFFF00"/>
                          </a:highlight>
                          <a:latin typeface="+mn-lt"/>
                          <a:ea typeface="+mn-ea"/>
                          <a:cs typeface="+mn-cs"/>
                        </a:rPr>
                        <a:t>B 0.75 sec</a:t>
                      </a:r>
                    </a:p>
                  </a:txBody>
                  <a:tcPr/>
                </a:tc>
                <a:extLst>
                  <a:ext uri="{0D108BD9-81ED-4DB2-BD59-A6C34878D82A}">
                    <a16:rowId xmlns:a16="http://schemas.microsoft.com/office/drawing/2014/main" val="320970308"/>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C 0.85 sec</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D 1 sec</a:t>
                      </a:r>
                    </a:p>
                  </a:txBody>
                  <a:tcPr/>
                </a:tc>
                <a:extLst>
                  <a:ext uri="{0D108BD9-81ED-4DB2-BD59-A6C34878D82A}">
                    <a16:rowId xmlns:a16="http://schemas.microsoft.com/office/drawing/2014/main" val="3388010780"/>
                  </a:ext>
                </a:extLst>
              </a:tr>
            </a:tbl>
          </a:graphicData>
        </a:graphic>
      </p:graphicFrame>
      <p:graphicFrame>
        <p:nvGraphicFramePr>
          <p:cNvPr id="6" name="Table 5">
            <a:extLst>
              <a:ext uri="{FF2B5EF4-FFF2-40B4-BE49-F238E27FC236}">
                <a16:creationId xmlns:a16="http://schemas.microsoft.com/office/drawing/2014/main" id="{0F907196-AE3C-C9CA-46E2-8A00137CDCE3}"/>
              </a:ext>
            </a:extLst>
          </p:cNvPr>
          <p:cNvGraphicFramePr>
            <a:graphicFrameLocks noGrp="1"/>
          </p:cNvGraphicFramePr>
          <p:nvPr>
            <p:extLst>
              <p:ext uri="{D42A27DB-BD31-4B8C-83A1-F6EECF244321}">
                <p14:modId xmlns:p14="http://schemas.microsoft.com/office/powerpoint/2010/main" val="631423301"/>
              </p:ext>
            </p:extLst>
          </p:nvPr>
        </p:nvGraphicFramePr>
        <p:xfrm>
          <a:off x="4281160" y="700088"/>
          <a:ext cx="3333585" cy="1252220"/>
        </p:xfrm>
        <a:graphic>
          <a:graphicData uri="http://schemas.openxmlformats.org/drawingml/2006/table">
            <a:tbl>
              <a:tblPr firstRow="1" bandRow="1">
                <a:tableStyleId>{BFEA419B-BCDB-4C27-8AB2-1E94C2BD932B}</a:tableStyleId>
              </a:tblPr>
              <a:tblGrid>
                <a:gridCol w="1567847">
                  <a:extLst>
                    <a:ext uri="{9D8B030D-6E8A-4147-A177-3AD203B41FA5}">
                      <a16:colId xmlns:a16="http://schemas.microsoft.com/office/drawing/2014/main" val="2165110993"/>
                    </a:ext>
                  </a:extLst>
                </a:gridCol>
                <a:gridCol w="1765738">
                  <a:extLst>
                    <a:ext uri="{9D8B030D-6E8A-4147-A177-3AD203B41FA5}">
                      <a16:colId xmlns:a16="http://schemas.microsoft.com/office/drawing/2014/main" val="2970800840"/>
                    </a:ext>
                  </a:extLst>
                </a:gridCol>
              </a:tblGrid>
              <a:tr h="370840">
                <a:tc gridSpan="2">
                  <a:txBody>
                    <a:bodyPr/>
                    <a:lstStyle/>
                    <a:p>
                      <a:r>
                        <a:rPr lang="en-US" sz="1350" b="1" i="0" kern="1200" dirty="0">
                          <a:solidFill>
                            <a:schemeClr val="dk1"/>
                          </a:solidFill>
                          <a:effectLst/>
                          <a:latin typeface="+mn-lt"/>
                          <a:ea typeface="+mn-ea"/>
                          <a:cs typeface="+mn-cs"/>
                        </a:rPr>
                        <a:t>The contribution of atrial systole to ventricular filling at rest is about</a:t>
                      </a:r>
                      <a:r>
                        <a:rPr lang="en-US" sz="1400" b="1" i="0" kern="1200" dirty="0">
                          <a:solidFill>
                            <a:schemeClr val="dk1"/>
                          </a:solidFill>
                          <a:effectLst/>
                          <a:latin typeface="+mn-lt"/>
                          <a:ea typeface="+mn-ea"/>
                          <a:cs typeface="+mn-cs"/>
                        </a:rPr>
                        <a:t>:</a:t>
                      </a:r>
                      <a:endParaRPr lang="en-US" sz="1400" dirty="0"/>
                    </a:p>
                  </a:txBody>
                  <a:tcPr/>
                </a:tc>
                <a:tc hMerge="1">
                  <a:txBody>
                    <a:bodyPr/>
                    <a:lstStyle/>
                    <a:p>
                      <a:endParaRPr lang="en-US" dirty="0"/>
                    </a:p>
                  </a:txBody>
                  <a:tcPr/>
                </a:tc>
                <a:extLst>
                  <a:ext uri="{0D108BD9-81ED-4DB2-BD59-A6C34878D82A}">
                    <a16:rowId xmlns:a16="http://schemas.microsoft.com/office/drawing/2014/main" val="1143505775"/>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A 50%</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B 40%</a:t>
                      </a:r>
                    </a:p>
                  </a:txBody>
                  <a:tcPr/>
                </a:tc>
                <a:extLst>
                  <a:ext uri="{0D108BD9-81ED-4DB2-BD59-A6C34878D82A}">
                    <a16:rowId xmlns:a16="http://schemas.microsoft.com/office/drawing/2014/main" val="320970308"/>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highlight>
                            <a:srgbClr val="FFFF00"/>
                          </a:highlight>
                          <a:latin typeface="+mn-lt"/>
                          <a:ea typeface="+mn-ea"/>
                          <a:cs typeface="+mn-cs"/>
                        </a:rPr>
                        <a:t>C 20%</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D 5%</a:t>
                      </a:r>
                    </a:p>
                  </a:txBody>
                  <a:tcPr/>
                </a:tc>
                <a:extLst>
                  <a:ext uri="{0D108BD9-81ED-4DB2-BD59-A6C34878D82A}">
                    <a16:rowId xmlns:a16="http://schemas.microsoft.com/office/drawing/2014/main" val="3388010780"/>
                  </a:ext>
                </a:extLst>
              </a:tr>
            </a:tbl>
          </a:graphicData>
        </a:graphic>
      </p:graphicFrame>
      <p:graphicFrame>
        <p:nvGraphicFramePr>
          <p:cNvPr id="7" name="Table 6">
            <a:extLst>
              <a:ext uri="{FF2B5EF4-FFF2-40B4-BE49-F238E27FC236}">
                <a16:creationId xmlns:a16="http://schemas.microsoft.com/office/drawing/2014/main" id="{AA5229BD-1D14-4C26-E86B-719258DB14F2}"/>
              </a:ext>
            </a:extLst>
          </p:cNvPr>
          <p:cNvGraphicFramePr>
            <a:graphicFrameLocks noGrp="1"/>
          </p:cNvGraphicFramePr>
          <p:nvPr>
            <p:extLst>
              <p:ext uri="{D42A27DB-BD31-4B8C-83A1-F6EECF244321}">
                <p14:modId xmlns:p14="http://schemas.microsoft.com/office/powerpoint/2010/main" val="1535737734"/>
              </p:ext>
            </p:extLst>
          </p:nvPr>
        </p:nvGraphicFramePr>
        <p:xfrm>
          <a:off x="576262" y="2390631"/>
          <a:ext cx="3333585" cy="1803400"/>
        </p:xfrm>
        <a:graphic>
          <a:graphicData uri="http://schemas.openxmlformats.org/drawingml/2006/table">
            <a:tbl>
              <a:tblPr firstRow="1" bandRow="1">
                <a:tableStyleId>{BFEA419B-BCDB-4C27-8AB2-1E94C2BD932B}</a:tableStyleId>
              </a:tblPr>
              <a:tblGrid>
                <a:gridCol w="1567847">
                  <a:extLst>
                    <a:ext uri="{9D8B030D-6E8A-4147-A177-3AD203B41FA5}">
                      <a16:colId xmlns:a16="http://schemas.microsoft.com/office/drawing/2014/main" val="2165110993"/>
                    </a:ext>
                  </a:extLst>
                </a:gridCol>
                <a:gridCol w="1765738">
                  <a:extLst>
                    <a:ext uri="{9D8B030D-6E8A-4147-A177-3AD203B41FA5}">
                      <a16:colId xmlns:a16="http://schemas.microsoft.com/office/drawing/2014/main" val="2970800840"/>
                    </a:ext>
                  </a:extLst>
                </a:gridCol>
              </a:tblGrid>
              <a:tr h="370840">
                <a:tc gridSpan="2">
                  <a:txBody>
                    <a:bodyPr/>
                    <a:lstStyle/>
                    <a:p>
                      <a:r>
                        <a:rPr lang="en-US" sz="1350" b="1" i="0" kern="1200" dirty="0">
                          <a:solidFill>
                            <a:schemeClr val="dk1"/>
                          </a:solidFill>
                          <a:effectLst/>
                          <a:latin typeface="+mn-lt"/>
                          <a:ea typeface="+mn-ea"/>
                          <a:cs typeface="+mn-cs"/>
                        </a:rPr>
                        <a:t>First heart sound (S </a:t>
                      </a:r>
                      <a:r>
                        <a:rPr lang="en-US" sz="1350" b="1" i="0" kern="1200" baseline="-25000" dirty="0">
                          <a:solidFill>
                            <a:schemeClr val="dk1"/>
                          </a:solidFill>
                          <a:effectLst/>
                          <a:latin typeface="+mn-lt"/>
                          <a:ea typeface="+mn-ea"/>
                          <a:cs typeface="+mn-cs"/>
                        </a:rPr>
                        <a:t>1 </a:t>
                      </a:r>
                      <a:r>
                        <a:rPr lang="en-US" sz="1350" b="1" i="0" kern="1200" dirty="0">
                          <a:solidFill>
                            <a:schemeClr val="dk1"/>
                          </a:solidFill>
                          <a:effectLst/>
                          <a:latin typeface="+mn-lt"/>
                          <a:ea typeface="+mn-ea"/>
                          <a:cs typeface="+mn-cs"/>
                        </a:rPr>
                        <a:t>)</a:t>
                      </a:r>
                      <a:r>
                        <a:rPr lang="en-US" sz="1400" b="1" i="0" kern="1200" dirty="0">
                          <a:solidFill>
                            <a:schemeClr val="dk1"/>
                          </a:solidFill>
                          <a:effectLst/>
                          <a:latin typeface="+mn-lt"/>
                          <a:ea typeface="+mn-ea"/>
                          <a:cs typeface="+mn-cs"/>
                        </a:rPr>
                        <a:t>:</a:t>
                      </a:r>
                      <a:endParaRPr lang="en-US" sz="1400" dirty="0"/>
                    </a:p>
                  </a:txBody>
                  <a:tcPr/>
                </a:tc>
                <a:tc hMerge="1">
                  <a:txBody>
                    <a:bodyPr/>
                    <a:lstStyle/>
                    <a:p>
                      <a:endParaRPr lang="en-US" dirty="0"/>
                    </a:p>
                  </a:txBody>
                  <a:tcPr/>
                </a:tc>
                <a:extLst>
                  <a:ext uri="{0D108BD9-81ED-4DB2-BD59-A6C34878D82A}">
                    <a16:rowId xmlns:a16="http://schemas.microsoft.com/office/drawing/2014/main" val="1143505775"/>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A </a:t>
                      </a:r>
                      <a:r>
                        <a:rPr lang="en-US" sz="1350" b="0" i="0" kern="1200" dirty="0">
                          <a:solidFill>
                            <a:schemeClr val="dk1"/>
                          </a:solidFill>
                          <a:effectLst/>
                          <a:latin typeface="+mn-lt"/>
                          <a:ea typeface="+mn-ea"/>
                          <a:cs typeface="+mn-cs"/>
                        </a:rPr>
                        <a:t>Characterized by high pitch and sharp sound</a:t>
                      </a:r>
                      <a:endParaRPr lang="en-US" sz="1400" b="0" i="0" kern="1200" dirty="0">
                        <a:solidFill>
                          <a:schemeClr val="dk1"/>
                        </a:solidFill>
                        <a:effectLst/>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highlight>
                            <a:srgbClr val="FFFF00"/>
                          </a:highlight>
                          <a:latin typeface="+mn-lt"/>
                          <a:ea typeface="+mn-ea"/>
                          <a:cs typeface="+mn-cs"/>
                        </a:rPr>
                        <a:t>B </a:t>
                      </a:r>
                      <a:r>
                        <a:rPr lang="en-US" sz="1350" b="0" i="0" kern="1200" dirty="0">
                          <a:solidFill>
                            <a:schemeClr val="dk1"/>
                          </a:solidFill>
                          <a:effectLst/>
                          <a:highlight>
                            <a:srgbClr val="FFFF00"/>
                          </a:highlight>
                          <a:latin typeface="+mn-lt"/>
                          <a:ea typeface="+mn-ea"/>
                          <a:cs typeface="+mn-cs"/>
                        </a:rPr>
                        <a:t>Marks the onset of ventricular systole</a:t>
                      </a:r>
                      <a:endParaRPr lang="en-US" sz="1400" b="0" i="0" kern="1200" dirty="0">
                        <a:solidFill>
                          <a:schemeClr val="dk1"/>
                        </a:solidFill>
                        <a:effectLst/>
                        <a:highlight>
                          <a:srgbClr val="FFFF00"/>
                        </a:highlight>
                        <a:latin typeface="+mn-lt"/>
                        <a:ea typeface="+mn-ea"/>
                        <a:cs typeface="+mn-cs"/>
                      </a:endParaRPr>
                    </a:p>
                  </a:txBody>
                  <a:tcPr/>
                </a:tc>
                <a:extLst>
                  <a:ext uri="{0D108BD9-81ED-4DB2-BD59-A6C34878D82A}">
                    <a16:rowId xmlns:a16="http://schemas.microsoft.com/office/drawing/2014/main" val="320970308"/>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C </a:t>
                      </a:r>
                      <a:r>
                        <a:rPr lang="en-US" sz="1350" b="0" i="0" kern="1200" dirty="0">
                          <a:solidFill>
                            <a:schemeClr val="dk1"/>
                          </a:solidFill>
                          <a:effectLst/>
                          <a:latin typeface="+mn-lt"/>
                          <a:ea typeface="+mn-ea"/>
                          <a:cs typeface="+mn-cs"/>
                        </a:rPr>
                        <a:t>Best heard over aortic and pulmonary areas</a:t>
                      </a:r>
                      <a:endParaRPr lang="en-US" sz="1400" b="0" i="0" kern="1200" dirty="0">
                        <a:solidFill>
                          <a:schemeClr val="dk1"/>
                        </a:solidFill>
                        <a:effectLst/>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D </a:t>
                      </a:r>
                      <a:r>
                        <a:rPr lang="en-US" sz="1350" b="0" i="0" kern="1200" dirty="0">
                          <a:solidFill>
                            <a:schemeClr val="dk1"/>
                          </a:solidFill>
                          <a:effectLst/>
                          <a:latin typeface="+mn-lt"/>
                          <a:ea typeface="+mn-ea"/>
                          <a:cs typeface="+mn-cs"/>
                        </a:rPr>
                        <a:t>Caused by the closure of semilunar valves</a:t>
                      </a:r>
                      <a:endParaRPr 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88010780"/>
                  </a:ext>
                </a:extLst>
              </a:tr>
            </a:tbl>
          </a:graphicData>
        </a:graphic>
      </p:graphicFrame>
      <p:graphicFrame>
        <p:nvGraphicFramePr>
          <p:cNvPr id="8" name="Table 7">
            <a:extLst>
              <a:ext uri="{FF2B5EF4-FFF2-40B4-BE49-F238E27FC236}">
                <a16:creationId xmlns:a16="http://schemas.microsoft.com/office/drawing/2014/main" id="{010DBD4B-5A11-BC3C-7750-0C40B4F7CB3B}"/>
              </a:ext>
            </a:extLst>
          </p:cNvPr>
          <p:cNvGraphicFramePr>
            <a:graphicFrameLocks noGrp="1"/>
          </p:cNvGraphicFramePr>
          <p:nvPr>
            <p:extLst>
              <p:ext uri="{D42A27DB-BD31-4B8C-83A1-F6EECF244321}">
                <p14:modId xmlns:p14="http://schemas.microsoft.com/office/powerpoint/2010/main" val="1317201989"/>
              </p:ext>
            </p:extLst>
          </p:nvPr>
        </p:nvGraphicFramePr>
        <p:xfrm>
          <a:off x="4571999" y="2431611"/>
          <a:ext cx="3333585" cy="1252220"/>
        </p:xfrm>
        <a:graphic>
          <a:graphicData uri="http://schemas.openxmlformats.org/drawingml/2006/table">
            <a:tbl>
              <a:tblPr firstRow="1" bandRow="1">
                <a:tableStyleId>{BFEA419B-BCDB-4C27-8AB2-1E94C2BD932B}</a:tableStyleId>
              </a:tblPr>
              <a:tblGrid>
                <a:gridCol w="1567847">
                  <a:extLst>
                    <a:ext uri="{9D8B030D-6E8A-4147-A177-3AD203B41FA5}">
                      <a16:colId xmlns:a16="http://schemas.microsoft.com/office/drawing/2014/main" val="2165110993"/>
                    </a:ext>
                  </a:extLst>
                </a:gridCol>
                <a:gridCol w="1765738">
                  <a:extLst>
                    <a:ext uri="{9D8B030D-6E8A-4147-A177-3AD203B41FA5}">
                      <a16:colId xmlns:a16="http://schemas.microsoft.com/office/drawing/2014/main" val="2970800840"/>
                    </a:ext>
                  </a:extLst>
                </a:gridCol>
              </a:tblGrid>
              <a:tr h="370840">
                <a:tc gridSpan="2">
                  <a:txBody>
                    <a:bodyPr/>
                    <a:lstStyle/>
                    <a:p>
                      <a:r>
                        <a:rPr lang="en-US" sz="1350" b="1" i="0" kern="1200" dirty="0">
                          <a:solidFill>
                            <a:schemeClr val="dk1"/>
                          </a:solidFill>
                          <a:effectLst/>
                          <a:latin typeface="+mn-lt"/>
                          <a:ea typeface="+mn-ea"/>
                          <a:cs typeface="+mn-cs"/>
                        </a:rPr>
                        <a:t>The maximally achievable systolic pressure by left ventricle is</a:t>
                      </a:r>
                      <a:r>
                        <a:rPr lang="en-US" sz="1400" b="1" i="0" kern="1200" dirty="0">
                          <a:solidFill>
                            <a:schemeClr val="dk1"/>
                          </a:solidFill>
                          <a:effectLst/>
                          <a:latin typeface="+mn-lt"/>
                          <a:ea typeface="+mn-ea"/>
                          <a:cs typeface="+mn-cs"/>
                        </a:rPr>
                        <a:t>:</a:t>
                      </a:r>
                      <a:endParaRPr lang="en-US" sz="1400" dirty="0"/>
                    </a:p>
                  </a:txBody>
                  <a:tcPr/>
                </a:tc>
                <a:tc hMerge="1">
                  <a:txBody>
                    <a:bodyPr/>
                    <a:lstStyle/>
                    <a:p>
                      <a:endParaRPr lang="en-US" dirty="0"/>
                    </a:p>
                  </a:txBody>
                  <a:tcPr/>
                </a:tc>
                <a:extLst>
                  <a:ext uri="{0D108BD9-81ED-4DB2-BD59-A6C34878D82A}">
                    <a16:rowId xmlns:a16="http://schemas.microsoft.com/office/drawing/2014/main" val="1143505775"/>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A </a:t>
                      </a:r>
                      <a:r>
                        <a:rPr lang="en-US" sz="1350" b="0" i="0" kern="1200" dirty="0">
                          <a:solidFill>
                            <a:schemeClr val="dk1"/>
                          </a:solidFill>
                          <a:effectLst/>
                          <a:latin typeface="+mn-lt"/>
                          <a:ea typeface="+mn-ea"/>
                          <a:cs typeface="+mn-cs"/>
                        </a:rPr>
                        <a:t>120</a:t>
                      </a:r>
                      <a:endParaRPr lang="en-US" sz="1400" b="0" i="0" kern="1200" dirty="0">
                        <a:solidFill>
                          <a:schemeClr val="dk1"/>
                        </a:solidFill>
                        <a:effectLst/>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B 150</a:t>
                      </a:r>
                    </a:p>
                  </a:txBody>
                  <a:tcPr/>
                </a:tc>
                <a:extLst>
                  <a:ext uri="{0D108BD9-81ED-4DB2-BD59-A6C34878D82A}">
                    <a16:rowId xmlns:a16="http://schemas.microsoft.com/office/drawing/2014/main" val="320970308"/>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C </a:t>
                      </a:r>
                      <a:r>
                        <a:rPr lang="en-US" sz="1350" b="0" i="0" kern="1200" dirty="0">
                          <a:solidFill>
                            <a:schemeClr val="dk1"/>
                          </a:solidFill>
                          <a:effectLst/>
                          <a:latin typeface="+mn-lt"/>
                          <a:ea typeface="+mn-ea"/>
                          <a:cs typeface="+mn-cs"/>
                        </a:rPr>
                        <a:t>200</a:t>
                      </a:r>
                      <a:endParaRPr lang="en-US" sz="1400" b="0" i="0" kern="1200" dirty="0">
                        <a:solidFill>
                          <a:schemeClr val="dk1"/>
                        </a:solidFill>
                        <a:effectLst/>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highlight>
                            <a:srgbClr val="FFFF00"/>
                          </a:highlight>
                          <a:latin typeface="+mn-lt"/>
                          <a:ea typeface="+mn-ea"/>
                          <a:cs typeface="+mn-cs"/>
                        </a:rPr>
                        <a:t>D </a:t>
                      </a:r>
                      <a:r>
                        <a:rPr lang="en-US" sz="1350" b="0" i="0" kern="1200" dirty="0">
                          <a:solidFill>
                            <a:schemeClr val="dk1"/>
                          </a:solidFill>
                          <a:effectLst/>
                          <a:highlight>
                            <a:srgbClr val="FFFF00"/>
                          </a:highlight>
                          <a:latin typeface="+mn-lt"/>
                          <a:ea typeface="+mn-ea"/>
                          <a:cs typeface="+mn-cs"/>
                        </a:rPr>
                        <a:t>300</a:t>
                      </a:r>
                      <a:endParaRPr lang="en-US" sz="1400" b="0" i="0" kern="1200" dirty="0">
                        <a:solidFill>
                          <a:schemeClr val="dk1"/>
                        </a:solidFill>
                        <a:effectLst/>
                        <a:highlight>
                          <a:srgbClr val="FFFF00"/>
                        </a:highlight>
                        <a:latin typeface="+mn-lt"/>
                        <a:ea typeface="+mn-ea"/>
                        <a:cs typeface="+mn-cs"/>
                      </a:endParaRPr>
                    </a:p>
                  </a:txBody>
                  <a:tcPr/>
                </a:tc>
                <a:extLst>
                  <a:ext uri="{0D108BD9-81ED-4DB2-BD59-A6C34878D82A}">
                    <a16:rowId xmlns:a16="http://schemas.microsoft.com/office/drawing/2014/main" val="3388010780"/>
                  </a:ext>
                </a:extLst>
              </a:tr>
            </a:tbl>
          </a:graphicData>
        </a:graphic>
      </p:graphicFrame>
    </p:spTree>
    <p:extLst>
      <p:ext uri="{BB962C8B-B14F-4D97-AF65-F5344CB8AC3E}">
        <p14:creationId xmlns:p14="http://schemas.microsoft.com/office/powerpoint/2010/main" val="545888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Sample Assignment Questions</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ClinicalKey Student Assessment</a:t>
            </a:r>
            <a:endParaRPr lang="en-US" sz="800" dirty="0"/>
          </a:p>
        </p:txBody>
      </p:sp>
      <p:sp>
        <p:nvSpPr>
          <p:cNvPr id="5" name="TextBox 4">
            <a:extLst>
              <a:ext uri="{FF2B5EF4-FFF2-40B4-BE49-F238E27FC236}">
                <a16:creationId xmlns:a16="http://schemas.microsoft.com/office/drawing/2014/main" id="{30C3FF54-0E4E-1052-463D-BCE2EF996DC5}"/>
              </a:ext>
            </a:extLst>
          </p:cNvPr>
          <p:cNvSpPr txBox="1"/>
          <p:nvPr/>
        </p:nvSpPr>
        <p:spPr>
          <a:xfrm>
            <a:off x="576263" y="658048"/>
            <a:ext cx="8483654" cy="3600986"/>
          </a:xfrm>
          <a:prstGeom prst="rect">
            <a:avLst/>
          </a:prstGeom>
          <a:noFill/>
        </p:spPr>
        <p:txBody>
          <a:bodyPr wrap="square">
            <a:spAutoFit/>
          </a:bodyPr>
          <a:lstStyle/>
          <a:p>
            <a:r>
              <a:rPr lang="en-US" sz="1200" b="1" dirty="0">
                <a:effectLst/>
              </a:rPr>
              <a:t>Question</a:t>
            </a:r>
            <a:br>
              <a:rPr lang="en-US" sz="1200" dirty="0">
                <a:effectLst/>
              </a:rPr>
            </a:br>
            <a:r>
              <a:rPr lang="en-US" sz="1200" i="1" dirty="0">
                <a:effectLst/>
              </a:rPr>
              <a:t>Source: ClinicalKey Student, Elsevier, Copyright 2024</a:t>
            </a:r>
            <a:r>
              <a:rPr lang="en-US" sz="1200" b="1" dirty="0">
                <a:effectLst/>
              </a:rPr>
              <a:t> </a:t>
            </a:r>
            <a:r>
              <a:rPr lang="en-US" sz="1200" dirty="0">
                <a:effectLst/>
              </a:rPr>
              <a:t>Contraction of the ventricles is known as ventricular systole. Which of the following statements about ventricular systole is true?</a:t>
            </a:r>
          </a:p>
          <a:p>
            <a:br>
              <a:rPr lang="en-US" sz="1200" dirty="0">
                <a:effectLst/>
              </a:rPr>
            </a:br>
            <a:r>
              <a:rPr lang="en-US" sz="1200" b="1" dirty="0">
                <a:effectLst/>
              </a:rPr>
              <a:t>Answer Options</a:t>
            </a:r>
          </a:p>
          <a:p>
            <a:r>
              <a:rPr lang="en-US" sz="1200" dirty="0">
                <a:effectLst/>
              </a:rPr>
              <a:t>A. </a:t>
            </a:r>
            <a:r>
              <a:rPr lang="en-US" sz="1200" dirty="0">
                <a:effectLst/>
                <a:highlight>
                  <a:srgbClr val="FFFF00"/>
                </a:highlight>
              </a:rPr>
              <a:t>The tricuspid valve is closed during a large part of this cardiac cycle</a:t>
            </a:r>
            <a:r>
              <a:rPr lang="en-US" sz="1200" b="1" dirty="0">
                <a:effectLst/>
                <a:highlight>
                  <a:srgbClr val="FFFF00"/>
                </a:highlight>
              </a:rPr>
              <a:t> is correct</a:t>
            </a:r>
            <a:endParaRPr lang="en-US" sz="1200" dirty="0">
              <a:effectLst/>
              <a:highlight>
                <a:srgbClr val="FFFF00"/>
              </a:highlight>
            </a:endParaRPr>
          </a:p>
          <a:p>
            <a:r>
              <a:rPr lang="en-US" sz="1200" dirty="0">
                <a:effectLst/>
              </a:rPr>
              <a:t>The mitral and tricuspid valves close at the beginning of ventricular systole.</a:t>
            </a:r>
          </a:p>
          <a:p>
            <a:br>
              <a:rPr lang="en-US" sz="1200" dirty="0">
                <a:effectLst/>
              </a:rPr>
            </a:br>
            <a:r>
              <a:rPr lang="en-US" sz="1200" dirty="0">
                <a:effectLst/>
              </a:rPr>
              <a:t>B. The pulmonary valve is closed during a large part of this cardiac cycle</a:t>
            </a:r>
            <a:r>
              <a:rPr lang="en-US" sz="1200" b="1" dirty="0">
                <a:effectLst/>
              </a:rPr>
              <a:t> is incorrect</a:t>
            </a:r>
            <a:endParaRPr lang="en-US" sz="1200" dirty="0">
              <a:effectLst/>
            </a:endParaRPr>
          </a:p>
          <a:p>
            <a:r>
              <a:rPr lang="en-US" sz="1200" dirty="0">
                <a:effectLst/>
              </a:rPr>
              <a:t>The pulmonary valve is open for long periods during the cardiac cycle.</a:t>
            </a:r>
          </a:p>
          <a:p>
            <a:br>
              <a:rPr lang="en-US" sz="1200" dirty="0">
                <a:effectLst/>
              </a:rPr>
            </a:br>
            <a:r>
              <a:rPr lang="en-US" sz="1200" dirty="0">
                <a:effectLst/>
              </a:rPr>
              <a:t>C. It is followed by atrial systole</a:t>
            </a:r>
            <a:r>
              <a:rPr lang="en-US" sz="1200" b="1" dirty="0">
                <a:effectLst/>
              </a:rPr>
              <a:t> is incorrect</a:t>
            </a:r>
            <a:endParaRPr lang="en-US" sz="1200" dirty="0">
              <a:effectLst/>
            </a:endParaRPr>
          </a:p>
          <a:p>
            <a:r>
              <a:rPr lang="en-US" sz="1200" dirty="0">
                <a:effectLst/>
              </a:rPr>
              <a:t>Ventricular systole follows atrial systole.</a:t>
            </a:r>
          </a:p>
          <a:p>
            <a:br>
              <a:rPr lang="en-US" sz="1200" dirty="0">
                <a:effectLst/>
              </a:rPr>
            </a:br>
            <a:r>
              <a:rPr lang="en-US" sz="1200" dirty="0">
                <a:effectLst/>
              </a:rPr>
              <a:t>D. It is indicated by the interval between the P and R waves on the ECG</a:t>
            </a:r>
            <a:r>
              <a:rPr lang="en-US" sz="1200" b="1" dirty="0">
                <a:effectLst/>
              </a:rPr>
              <a:t> is incorrect</a:t>
            </a:r>
            <a:endParaRPr lang="en-US" sz="1200" dirty="0">
              <a:effectLst/>
            </a:endParaRPr>
          </a:p>
          <a:p>
            <a:r>
              <a:rPr lang="en-US" sz="1200" dirty="0">
                <a:effectLst/>
              </a:rPr>
              <a:t>The R wave marks the start of ventricular systole.</a:t>
            </a:r>
          </a:p>
          <a:p>
            <a:br>
              <a:rPr lang="en-US" sz="1200" dirty="0">
                <a:effectLst/>
              </a:rPr>
            </a:br>
            <a:r>
              <a:rPr lang="en-US" sz="1200" dirty="0">
                <a:effectLst/>
              </a:rPr>
              <a:t>E. The left ventricular pressure remains below 50 mmHg</a:t>
            </a:r>
            <a:r>
              <a:rPr lang="en-US" sz="1200" b="1" dirty="0">
                <a:effectLst/>
              </a:rPr>
              <a:t> is incorrect</a:t>
            </a:r>
            <a:endParaRPr lang="en-US" sz="1200" dirty="0">
              <a:effectLst/>
            </a:endParaRPr>
          </a:p>
          <a:p>
            <a:r>
              <a:rPr lang="en-US" sz="1200" dirty="0">
                <a:effectLst/>
              </a:rPr>
              <a:t>It increases to 120 mmHg during ventricular systole. </a:t>
            </a:r>
          </a:p>
        </p:txBody>
      </p:sp>
    </p:spTree>
    <p:extLst>
      <p:ext uri="{BB962C8B-B14F-4D97-AF65-F5344CB8AC3E}">
        <p14:creationId xmlns:p14="http://schemas.microsoft.com/office/powerpoint/2010/main" val="2347772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CFA5CE-20A1-34C6-662B-3D71AFD9BEE0}"/>
              </a:ext>
            </a:extLst>
          </p:cNvPr>
          <p:cNvSpPr>
            <a:spLocks noGrp="1"/>
          </p:cNvSpPr>
          <p:nvPr>
            <p:ph type="body" sz="quarter" idx="13"/>
          </p:nvPr>
        </p:nvSpPr>
        <p:spPr/>
        <p:txBody>
          <a:bodyPr/>
          <a:lstStyle/>
          <a:p>
            <a:pPr marL="285750" indent="-285750">
              <a:buFont typeface="Arial" panose="020B0604020202020204" pitchFamily="34" charset="0"/>
              <a:buChar char="•"/>
            </a:pPr>
            <a:r>
              <a:rPr lang="en-US" dirty="0"/>
              <a:t>Understand the relevance of cardiac cycle and how it links to Heart Rate</a:t>
            </a:r>
          </a:p>
          <a:p>
            <a:pPr marL="285750" indent="-285750">
              <a:buFont typeface="Arial" panose="020B0604020202020204" pitchFamily="34" charset="0"/>
              <a:buChar char="•"/>
            </a:pPr>
            <a:r>
              <a:rPr lang="en-US" dirty="0"/>
              <a:t>Understand the phases of the cardiac cycle</a:t>
            </a:r>
          </a:p>
          <a:p>
            <a:pPr marL="285750" indent="-285750">
              <a:buFont typeface="Arial" panose="020B0604020202020204" pitchFamily="34" charset="0"/>
              <a:buChar char="•"/>
            </a:pPr>
            <a:r>
              <a:rPr lang="en-US" dirty="0"/>
              <a:t>Understand the blood flow, pressure and volume changes in each phase</a:t>
            </a:r>
          </a:p>
          <a:p>
            <a:pPr marL="285750" indent="-285750">
              <a:buFont typeface="Arial" panose="020B0604020202020204" pitchFamily="34" charset="0"/>
              <a:buChar char="•"/>
            </a:pPr>
            <a:r>
              <a:rPr lang="en-US" dirty="0"/>
              <a:t>Describe the origin of and identify heart sounds</a:t>
            </a:r>
          </a:p>
          <a:p>
            <a:pPr marL="285750" indent="-285750">
              <a:buFont typeface="Arial" panose="020B0604020202020204" pitchFamily="34" charset="0"/>
              <a:buChar char="•"/>
            </a:pPr>
            <a:r>
              <a:rPr lang="en-US" dirty="0"/>
              <a:t>Correlate cardiac cycle to ECG</a:t>
            </a:r>
          </a:p>
          <a:p>
            <a:pPr marL="285750" indent="-285750">
              <a:buFont typeface="Arial" panose="020B0604020202020204" pitchFamily="34" charset="0"/>
              <a:buChar char="•"/>
            </a:pPr>
            <a:r>
              <a:rPr lang="en-US" dirty="0"/>
              <a:t>Summarize the events of a cardiac cycle in a diagram (Wigger’s Diagram)</a:t>
            </a:r>
          </a:p>
          <a:p>
            <a:endParaRPr lang="en-US" dirty="0"/>
          </a:p>
        </p:txBody>
      </p:sp>
      <p:sp>
        <p:nvSpPr>
          <p:cNvPr id="3" name="Title 2">
            <a:extLst>
              <a:ext uri="{FF2B5EF4-FFF2-40B4-BE49-F238E27FC236}">
                <a16:creationId xmlns:a16="http://schemas.microsoft.com/office/drawing/2014/main" id="{30443EB2-5CEF-DF3B-37C7-154C00A0C410}"/>
              </a:ext>
            </a:extLst>
          </p:cNvPr>
          <p:cNvSpPr>
            <a:spLocks noGrp="1"/>
          </p:cNvSpPr>
          <p:nvPr>
            <p:ph type="title"/>
          </p:nvPr>
        </p:nvSpPr>
        <p:spPr/>
        <p:txBody>
          <a:bodyPr/>
          <a:lstStyle/>
          <a:p>
            <a:r>
              <a:rPr lang="en-US" dirty="0"/>
              <a:t>Learning Objectives</a:t>
            </a:r>
          </a:p>
        </p:txBody>
      </p:sp>
    </p:spTree>
    <p:extLst>
      <p:ext uri="{BB962C8B-B14F-4D97-AF65-F5344CB8AC3E}">
        <p14:creationId xmlns:p14="http://schemas.microsoft.com/office/powerpoint/2010/main" val="1109769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Sample Assignment Questions</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ClinicalKey Student Assessment</a:t>
            </a:r>
            <a:endParaRPr lang="en-US" sz="800" dirty="0"/>
          </a:p>
        </p:txBody>
      </p:sp>
      <p:sp>
        <p:nvSpPr>
          <p:cNvPr id="5" name="TextBox 4">
            <a:extLst>
              <a:ext uri="{FF2B5EF4-FFF2-40B4-BE49-F238E27FC236}">
                <a16:creationId xmlns:a16="http://schemas.microsoft.com/office/drawing/2014/main" id="{30C3FF54-0E4E-1052-463D-BCE2EF996DC5}"/>
              </a:ext>
            </a:extLst>
          </p:cNvPr>
          <p:cNvSpPr txBox="1"/>
          <p:nvPr/>
        </p:nvSpPr>
        <p:spPr>
          <a:xfrm>
            <a:off x="576263" y="658048"/>
            <a:ext cx="8483654" cy="4154984"/>
          </a:xfrm>
          <a:prstGeom prst="rect">
            <a:avLst/>
          </a:prstGeom>
          <a:noFill/>
        </p:spPr>
        <p:txBody>
          <a:bodyPr wrap="square">
            <a:spAutoFit/>
          </a:bodyPr>
          <a:lstStyle/>
          <a:p>
            <a:r>
              <a:rPr lang="en-US" sz="1200" b="1" dirty="0">
                <a:effectLst/>
              </a:rPr>
              <a:t>Question</a:t>
            </a:r>
            <a:br>
              <a:rPr lang="en-US" sz="1200" dirty="0">
                <a:effectLst/>
              </a:rPr>
            </a:br>
            <a:r>
              <a:rPr lang="en-US" sz="1200" i="1" dirty="0">
                <a:effectLst/>
              </a:rPr>
              <a:t>Source: ClinicalKey Student, Elsevier, Copyright 2024</a:t>
            </a:r>
            <a:r>
              <a:rPr lang="en-US" sz="1200" b="1" dirty="0">
                <a:effectLst/>
              </a:rPr>
              <a:t> </a:t>
            </a:r>
            <a:r>
              <a:rPr lang="en-US" sz="1200" dirty="0">
                <a:effectLst/>
              </a:rPr>
              <a:t>Stroke volume is part of the cardiac cycle. What is stroke volume?</a:t>
            </a:r>
          </a:p>
          <a:p>
            <a:br>
              <a:rPr lang="en-US" sz="1200" dirty="0">
                <a:effectLst/>
              </a:rPr>
            </a:br>
            <a:r>
              <a:rPr lang="en-US" sz="1200" b="1" dirty="0">
                <a:effectLst/>
              </a:rPr>
              <a:t>Answer Options</a:t>
            </a:r>
          </a:p>
          <a:p>
            <a:r>
              <a:rPr lang="en-US" sz="1200" dirty="0">
                <a:effectLst/>
              </a:rPr>
              <a:t>A. Amount of blood ejected to the pulmonary artery</a:t>
            </a:r>
            <a:r>
              <a:rPr lang="en-US" sz="1200" b="1" dirty="0">
                <a:effectLst/>
              </a:rPr>
              <a:t> is incorrect</a:t>
            </a:r>
            <a:endParaRPr lang="en-US" sz="1200" dirty="0">
              <a:effectLst/>
            </a:endParaRPr>
          </a:p>
          <a:p>
            <a:r>
              <a:rPr lang="en-US" sz="1200" dirty="0">
                <a:effectLst/>
              </a:rPr>
              <a:t>The amount of blood ejected to the pulmonary artery is the pulmonary ejection fraction (right ventricular ejection fraction: RVEF).</a:t>
            </a:r>
          </a:p>
          <a:p>
            <a:br>
              <a:rPr lang="en-US" sz="1200" dirty="0">
                <a:effectLst/>
              </a:rPr>
            </a:br>
            <a:r>
              <a:rPr lang="en-US" sz="1200" dirty="0">
                <a:effectLst/>
              </a:rPr>
              <a:t>B. Amount of blood pumped entering the right atrium</a:t>
            </a:r>
            <a:r>
              <a:rPr lang="en-US" sz="1200" b="1" dirty="0">
                <a:effectLst/>
              </a:rPr>
              <a:t> is incorrect</a:t>
            </a:r>
            <a:endParaRPr lang="en-US" sz="1200" dirty="0">
              <a:effectLst/>
            </a:endParaRPr>
          </a:p>
          <a:p>
            <a:r>
              <a:rPr lang="en-US" sz="1200" dirty="0">
                <a:effectLst/>
              </a:rPr>
              <a:t>The stroke volume is the amount of blood pumped at each heartbeat.</a:t>
            </a:r>
          </a:p>
          <a:p>
            <a:br>
              <a:rPr lang="en-US" sz="1200" dirty="0">
                <a:effectLst/>
              </a:rPr>
            </a:br>
            <a:r>
              <a:rPr lang="en-US" sz="1200" dirty="0">
                <a:effectLst/>
              </a:rPr>
              <a:t>C. </a:t>
            </a:r>
            <a:r>
              <a:rPr lang="en-US" sz="1200" dirty="0">
                <a:effectLst/>
                <a:highlight>
                  <a:srgbClr val="FFFF00"/>
                </a:highlight>
              </a:rPr>
              <a:t>Amount of blood pumped per heartbeat</a:t>
            </a:r>
            <a:r>
              <a:rPr lang="en-US" sz="1200" b="1" dirty="0">
                <a:effectLst/>
                <a:highlight>
                  <a:srgbClr val="FFFF00"/>
                </a:highlight>
              </a:rPr>
              <a:t> is correct</a:t>
            </a:r>
            <a:endParaRPr lang="en-US" sz="1200" dirty="0">
              <a:effectLst/>
              <a:highlight>
                <a:srgbClr val="FFFF00"/>
              </a:highlight>
            </a:endParaRPr>
          </a:p>
          <a:p>
            <a:r>
              <a:rPr lang="en-US" sz="1200" dirty="0">
                <a:effectLst/>
              </a:rPr>
              <a:t>Stroke volume (SV) is the amount of blood pumped at each heartbeat, and is about 70 mL in an ‘average’ person at rest. The amount of blood pumped per minute in called the cardiac output (CO). The sequence of events which makes up each heartbeat is called the cardiac cycle. The period of contraction of the heart muscle is called systole and the period of relaxation is called diastole.</a:t>
            </a:r>
          </a:p>
          <a:p>
            <a:br>
              <a:rPr lang="en-US" sz="1200" dirty="0">
                <a:effectLst/>
              </a:rPr>
            </a:br>
            <a:r>
              <a:rPr lang="en-US" sz="1200" dirty="0">
                <a:effectLst/>
              </a:rPr>
              <a:t>D. Period of contraction</a:t>
            </a:r>
            <a:r>
              <a:rPr lang="en-US" sz="1200" b="1" dirty="0">
                <a:effectLst/>
              </a:rPr>
              <a:t> is incorrect</a:t>
            </a:r>
            <a:endParaRPr lang="en-US" sz="1200" dirty="0">
              <a:effectLst/>
            </a:endParaRPr>
          </a:p>
          <a:p>
            <a:r>
              <a:rPr lang="en-US" sz="1200" dirty="0">
                <a:effectLst/>
              </a:rPr>
              <a:t>The period of contraction is called systole.</a:t>
            </a:r>
          </a:p>
          <a:p>
            <a:br>
              <a:rPr lang="en-US" sz="1200" dirty="0">
                <a:effectLst/>
              </a:rPr>
            </a:br>
            <a:r>
              <a:rPr lang="en-US" sz="1200" dirty="0">
                <a:effectLst/>
              </a:rPr>
              <a:t>E. Period of relaxation</a:t>
            </a:r>
            <a:r>
              <a:rPr lang="en-US" sz="1200" b="1" dirty="0">
                <a:effectLst/>
              </a:rPr>
              <a:t> is incorrect</a:t>
            </a:r>
            <a:endParaRPr lang="en-US" sz="1200" dirty="0">
              <a:effectLst/>
            </a:endParaRPr>
          </a:p>
          <a:p>
            <a:r>
              <a:rPr lang="en-US" sz="1200" dirty="0">
                <a:effectLst/>
              </a:rPr>
              <a:t>The period of relaxation is called diastole.</a:t>
            </a:r>
          </a:p>
        </p:txBody>
      </p:sp>
    </p:spTree>
    <p:extLst>
      <p:ext uri="{BB962C8B-B14F-4D97-AF65-F5344CB8AC3E}">
        <p14:creationId xmlns:p14="http://schemas.microsoft.com/office/powerpoint/2010/main" val="65152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Sample Assignment Questions</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ClinicalKey Student Assessment</a:t>
            </a:r>
            <a:endParaRPr lang="en-US" sz="800" dirty="0"/>
          </a:p>
        </p:txBody>
      </p:sp>
      <p:sp>
        <p:nvSpPr>
          <p:cNvPr id="5" name="TextBox 4">
            <a:extLst>
              <a:ext uri="{FF2B5EF4-FFF2-40B4-BE49-F238E27FC236}">
                <a16:creationId xmlns:a16="http://schemas.microsoft.com/office/drawing/2014/main" id="{30C3FF54-0E4E-1052-463D-BCE2EF996DC5}"/>
              </a:ext>
            </a:extLst>
          </p:cNvPr>
          <p:cNvSpPr txBox="1"/>
          <p:nvPr/>
        </p:nvSpPr>
        <p:spPr>
          <a:xfrm>
            <a:off x="576263" y="658048"/>
            <a:ext cx="8483654" cy="3970318"/>
          </a:xfrm>
          <a:prstGeom prst="rect">
            <a:avLst/>
          </a:prstGeom>
          <a:noFill/>
        </p:spPr>
        <p:txBody>
          <a:bodyPr wrap="square">
            <a:spAutoFit/>
          </a:bodyPr>
          <a:lstStyle/>
          <a:p>
            <a:r>
              <a:rPr lang="en-US" sz="1200" b="1" dirty="0">
                <a:effectLst/>
              </a:rPr>
              <a:t>Question</a:t>
            </a:r>
            <a:br>
              <a:rPr lang="en-US" sz="1200" dirty="0">
                <a:effectLst/>
              </a:rPr>
            </a:br>
            <a:r>
              <a:rPr lang="en-US" sz="1200" i="1" dirty="0">
                <a:effectLst/>
              </a:rPr>
              <a:t>Source: ClinicalKey Student, Elsevier, Copyright 2024</a:t>
            </a:r>
            <a:r>
              <a:rPr lang="en-US" sz="1200" b="1" dirty="0">
                <a:effectLst/>
              </a:rPr>
              <a:t> </a:t>
            </a:r>
            <a:r>
              <a:rPr lang="en-US" sz="1200" dirty="0">
                <a:effectLst/>
              </a:rPr>
              <a:t>Normal heart sounds are produced by the opening and closing of valves during the cardiac cycle. Which of the following describes the first heart sound?</a:t>
            </a:r>
          </a:p>
          <a:p>
            <a:br>
              <a:rPr lang="en-US" sz="1200" dirty="0">
                <a:effectLst/>
              </a:rPr>
            </a:br>
            <a:r>
              <a:rPr lang="en-US" sz="1200" b="1" dirty="0">
                <a:effectLst/>
              </a:rPr>
              <a:t>Answer Options</a:t>
            </a:r>
          </a:p>
          <a:p>
            <a:r>
              <a:rPr lang="en-US" sz="1200" dirty="0">
                <a:effectLst/>
              </a:rPr>
              <a:t>A. </a:t>
            </a:r>
            <a:r>
              <a:rPr lang="en-US" sz="1200" dirty="0">
                <a:effectLst/>
                <a:highlight>
                  <a:srgbClr val="FFFF00"/>
                </a:highlight>
              </a:rPr>
              <a:t>It is partly caused by the closure of the tricuspid valve</a:t>
            </a:r>
            <a:r>
              <a:rPr lang="en-US" sz="1200" b="1" dirty="0">
                <a:effectLst/>
                <a:highlight>
                  <a:srgbClr val="FFFF00"/>
                </a:highlight>
              </a:rPr>
              <a:t> is correct</a:t>
            </a:r>
            <a:endParaRPr lang="en-US" sz="1200" dirty="0">
              <a:effectLst/>
              <a:highlight>
                <a:srgbClr val="FFFF00"/>
              </a:highlight>
            </a:endParaRPr>
          </a:p>
          <a:p>
            <a:r>
              <a:rPr lang="en-US" sz="1200" dirty="0">
                <a:effectLst/>
              </a:rPr>
              <a:t>The first heart sound occurs at the beginning of the ventricular systole, and is caused by the closure of the mitral and the tricuspid valves. Hence it is louder at the apex of the heart. The first heart sound has a lower pitch and a longer duration than the second because the mitral and tricuspid valves close more gradually than the pulmonary and aortic valves.</a:t>
            </a:r>
          </a:p>
          <a:p>
            <a:br>
              <a:rPr lang="en-US" sz="1200" dirty="0">
                <a:effectLst/>
              </a:rPr>
            </a:br>
            <a:r>
              <a:rPr lang="en-US" sz="1200" dirty="0">
                <a:effectLst/>
              </a:rPr>
              <a:t>B. It is partly caused by the closure of the pulmonary valve</a:t>
            </a:r>
            <a:r>
              <a:rPr lang="en-US" sz="1200" b="1" dirty="0">
                <a:effectLst/>
              </a:rPr>
              <a:t> is incorrect</a:t>
            </a:r>
            <a:endParaRPr lang="en-US" sz="1200" dirty="0">
              <a:effectLst/>
            </a:endParaRPr>
          </a:p>
          <a:p>
            <a:r>
              <a:rPr lang="en-US" sz="1200" dirty="0">
                <a:effectLst/>
              </a:rPr>
              <a:t>It is partly caused by the closure of the mitral and the tricuspid valves.</a:t>
            </a:r>
          </a:p>
          <a:p>
            <a:br>
              <a:rPr lang="en-US" sz="1200" dirty="0">
                <a:effectLst/>
              </a:rPr>
            </a:br>
            <a:r>
              <a:rPr lang="en-US" sz="1200" dirty="0">
                <a:effectLst/>
              </a:rPr>
              <a:t>C. It is louder at the base than the apex of the heart</a:t>
            </a:r>
            <a:r>
              <a:rPr lang="en-US" sz="1200" b="1" dirty="0">
                <a:effectLst/>
              </a:rPr>
              <a:t> is incorrect</a:t>
            </a:r>
            <a:endParaRPr lang="en-US" sz="1200" dirty="0">
              <a:effectLst/>
            </a:endParaRPr>
          </a:p>
          <a:p>
            <a:r>
              <a:rPr lang="en-US" sz="1200" dirty="0">
                <a:effectLst/>
              </a:rPr>
              <a:t>It is loudest at the apex.</a:t>
            </a:r>
          </a:p>
          <a:p>
            <a:br>
              <a:rPr lang="en-US" sz="1200" dirty="0">
                <a:effectLst/>
              </a:rPr>
            </a:br>
            <a:r>
              <a:rPr lang="en-US" sz="1200" dirty="0">
                <a:effectLst/>
              </a:rPr>
              <a:t>D. It signals the end of ventricular systole</a:t>
            </a:r>
            <a:r>
              <a:rPr lang="en-US" sz="1200" b="1" dirty="0">
                <a:effectLst/>
              </a:rPr>
              <a:t> is incorrect</a:t>
            </a:r>
            <a:endParaRPr lang="en-US" sz="1200" dirty="0">
              <a:effectLst/>
            </a:endParaRPr>
          </a:p>
          <a:p>
            <a:r>
              <a:rPr lang="en-US" sz="1200" dirty="0">
                <a:effectLst/>
              </a:rPr>
              <a:t>The first heart sound signals the beginning of ventricular systole.</a:t>
            </a:r>
          </a:p>
          <a:p>
            <a:br>
              <a:rPr lang="en-US" sz="1200" dirty="0">
                <a:effectLst/>
              </a:rPr>
            </a:br>
            <a:r>
              <a:rPr lang="en-US" sz="1200" dirty="0">
                <a:effectLst/>
              </a:rPr>
              <a:t>E. It has a higher pitch than the second heart sound</a:t>
            </a:r>
            <a:r>
              <a:rPr lang="en-US" sz="1200" b="1" dirty="0">
                <a:effectLst/>
              </a:rPr>
              <a:t> is incorrect</a:t>
            </a:r>
            <a:endParaRPr lang="en-US" sz="1200" dirty="0">
              <a:effectLst/>
            </a:endParaRPr>
          </a:p>
          <a:p>
            <a:r>
              <a:rPr lang="en-US" sz="1200" dirty="0">
                <a:effectLst/>
              </a:rPr>
              <a:t>It has a lower pitch than the second heart sound.</a:t>
            </a:r>
          </a:p>
        </p:txBody>
      </p:sp>
    </p:spTree>
    <p:extLst>
      <p:ext uri="{BB962C8B-B14F-4D97-AF65-F5344CB8AC3E}">
        <p14:creationId xmlns:p14="http://schemas.microsoft.com/office/powerpoint/2010/main" val="751933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Cardiac Cycle – Case-Based Learning</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rPr>
              <a:t>ClinicalKey Student Assessment</a:t>
            </a:r>
            <a:endParaRPr lang="en-US" sz="800" dirty="0"/>
          </a:p>
        </p:txBody>
      </p:sp>
      <p:sp>
        <p:nvSpPr>
          <p:cNvPr id="8" name="TextBox 7">
            <a:extLst>
              <a:ext uri="{FF2B5EF4-FFF2-40B4-BE49-F238E27FC236}">
                <a16:creationId xmlns:a16="http://schemas.microsoft.com/office/drawing/2014/main" id="{8165D510-0678-BF91-EA7F-187EC9B9229B}"/>
              </a:ext>
            </a:extLst>
          </p:cNvPr>
          <p:cNvSpPr txBox="1"/>
          <p:nvPr/>
        </p:nvSpPr>
        <p:spPr>
          <a:xfrm>
            <a:off x="576263" y="700088"/>
            <a:ext cx="8403834" cy="2246769"/>
          </a:xfrm>
          <a:prstGeom prst="rect">
            <a:avLst/>
          </a:prstGeom>
          <a:noFill/>
        </p:spPr>
        <p:txBody>
          <a:bodyPr wrap="square">
            <a:spAutoFit/>
          </a:bodyPr>
          <a:lstStyle/>
          <a:p>
            <a:r>
              <a:rPr lang="en-US" sz="1400" dirty="0">
                <a:solidFill>
                  <a:schemeClr val="accent2"/>
                </a:solidFill>
                <a:latin typeface="Georgia" panose="02040502050405020303" pitchFamily="18" charset="0"/>
              </a:rPr>
              <a:t>CASE 1</a:t>
            </a:r>
          </a:p>
          <a:p>
            <a:r>
              <a:rPr lang="en-US" sz="1400" dirty="0">
                <a:solidFill>
                  <a:schemeClr val="accent2"/>
                </a:solidFill>
                <a:latin typeface="Georgia" panose="02040502050405020303" pitchFamily="18" charset="0"/>
              </a:rPr>
              <a:t>A 24-year-old man consults for a systematic physical examination. His blood pressure AT REST is currently 120/80 mmHg and his heart rate is 75 beats/min. He is recommended to begin an exercise program. When he returns 3 months later his heart rate has decreased to 50 beats/min (asymptomatic). What values would you expect to see different in this patient AT REST compared to those obtained 3 months earlier?</a:t>
            </a:r>
          </a:p>
          <a:p>
            <a:endParaRPr lang="en-US" sz="1400" dirty="0">
              <a:solidFill>
                <a:srgbClr val="7030A0"/>
              </a:solidFill>
              <a:latin typeface="Georgia" panose="02040502050405020303" pitchFamily="18" charset="0"/>
            </a:endParaRPr>
          </a:p>
          <a:p>
            <a:r>
              <a:rPr lang="en-US" sz="1400" dirty="0">
                <a:solidFill>
                  <a:srgbClr val="7030A0"/>
                </a:solidFill>
                <a:latin typeface="Georgia" panose="02040502050405020303" pitchFamily="18" charset="0"/>
              </a:rPr>
              <a:t>CASE 2</a:t>
            </a:r>
          </a:p>
          <a:p>
            <a:r>
              <a:rPr lang="en-US" sz="1400" dirty="0">
                <a:solidFill>
                  <a:srgbClr val="7030A0"/>
                </a:solidFill>
                <a:latin typeface="Georgia" panose="02040502050405020303" pitchFamily="18" charset="0"/>
              </a:rPr>
              <a:t>A patient with a resting cardiac output of 4 L/min does maximum exercise and their cardiac output increases to 8 L/min. What's their cardiac reserve?</a:t>
            </a:r>
          </a:p>
        </p:txBody>
      </p:sp>
      <p:sp>
        <p:nvSpPr>
          <p:cNvPr id="10" name="TextBox 9">
            <a:extLst>
              <a:ext uri="{FF2B5EF4-FFF2-40B4-BE49-F238E27FC236}">
                <a16:creationId xmlns:a16="http://schemas.microsoft.com/office/drawing/2014/main" id="{7CEBB492-54B3-6A9A-C21F-E1BDFCCFC66E}"/>
              </a:ext>
            </a:extLst>
          </p:cNvPr>
          <p:cNvSpPr txBox="1"/>
          <p:nvPr/>
        </p:nvSpPr>
        <p:spPr>
          <a:xfrm>
            <a:off x="597284" y="4045095"/>
            <a:ext cx="8546716" cy="769441"/>
          </a:xfrm>
          <a:prstGeom prst="rect">
            <a:avLst/>
          </a:prstGeom>
          <a:noFill/>
        </p:spPr>
        <p:txBody>
          <a:bodyPr wrap="square">
            <a:spAutoFit/>
          </a:bodyPr>
          <a:lstStyle/>
          <a:p>
            <a:r>
              <a:rPr lang="en-US" sz="1400" b="1" dirty="0"/>
              <a:t>More clinical cases and quiz questions available in </a:t>
            </a:r>
            <a:r>
              <a:rPr lang="en-US" sz="1600" b="1" u="sng" dirty="0">
                <a:hlinkClick r:id="rId3"/>
              </a:rPr>
              <a:t>ClinicalKey Student Assessment</a:t>
            </a:r>
            <a:r>
              <a:rPr lang="en-US" sz="1400" b="1" dirty="0"/>
              <a:t>. Leverage the platform to identify cases for class discussion or create an assignment for students that can be used as a class quiz or for formative assessment.</a:t>
            </a:r>
          </a:p>
        </p:txBody>
      </p:sp>
    </p:spTree>
    <p:extLst>
      <p:ext uri="{BB962C8B-B14F-4D97-AF65-F5344CB8AC3E}">
        <p14:creationId xmlns:p14="http://schemas.microsoft.com/office/powerpoint/2010/main" val="285149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Post-Lecture Video Assignment</a:t>
            </a:r>
          </a:p>
        </p:txBody>
      </p:sp>
    </p:spTree>
    <p:extLst>
      <p:ext uri="{BB962C8B-B14F-4D97-AF65-F5344CB8AC3E}">
        <p14:creationId xmlns:p14="http://schemas.microsoft.com/office/powerpoint/2010/main" val="2559818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How to Read an ECG</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video/23-s2.0-mm_9780323798716_0001</a:t>
            </a:r>
            <a:r>
              <a:rPr lang="en-US" sz="800" b="0" i="0" dirty="0">
                <a:solidFill>
                  <a:srgbClr val="2E2E2E"/>
                </a:solidFill>
                <a:effectLst/>
                <a:latin typeface="ElsevierSansWeb"/>
              </a:rPr>
              <a:t> </a:t>
            </a:r>
            <a:endParaRPr lang="en-US" sz="800" dirty="0"/>
          </a:p>
        </p:txBody>
      </p:sp>
      <p:pic>
        <p:nvPicPr>
          <p:cNvPr id="6" name="Picture 5">
            <a:extLst>
              <a:ext uri="{FF2B5EF4-FFF2-40B4-BE49-F238E27FC236}">
                <a16:creationId xmlns:a16="http://schemas.microsoft.com/office/drawing/2014/main" id="{4B29A675-4ABD-6CAD-287E-1B6592CA394E}"/>
              </a:ext>
            </a:extLst>
          </p:cNvPr>
          <p:cNvPicPr>
            <a:picLocks noChangeAspect="1"/>
          </p:cNvPicPr>
          <p:nvPr/>
        </p:nvPicPr>
        <p:blipFill>
          <a:blip r:embed="rId3"/>
          <a:stretch>
            <a:fillRect/>
          </a:stretch>
        </p:blipFill>
        <p:spPr>
          <a:xfrm>
            <a:off x="576262" y="700088"/>
            <a:ext cx="7295985" cy="4070948"/>
          </a:xfrm>
          <a:prstGeom prst="rect">
            <a:avLst/>
          </a:prstGeom>
        </p:spPr>
      </p:pic>
    </p:spTree>
    <p:extLst>
      <p:ext uri="{BB962C8B-B14F-4D97-AF65-F5344CB8AC3E}">
        <p14:creationId xmlns:p14="http://schemas.microsoft.com/office/powerpoint/2010/main" val="382514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Heart Sounds</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video/23-s2.0-mm_9780323798662_0021</a:t>
            </a:r>
            <a:r>
              <a:rPr lang="en-US" sz="800" b="0" i="0" dirty="0">
                <a:solidFill>
                  <a:srgbClr val="2E2E2E"/>
                </a:solidFill>
                <a:effectLst/>
                <a:latin typeface="ElsevierSansWeb"/>
              </a:rPr>
              <a:t> </a:t>
            </a:r>
            <a:endParaRPr lang="en-US" sz="800" dirty="0"/>
          </a:p>
        </p:txBody>
      </p:sp>
      <p:pic>
        <p:nvPicPr>
          <p:cNvPr id="6" name="Picture 5">
            <a:extLst>
              <a:ext uri="{FF2B5EF4-FFF2-40B4-BE49-F238E27FC236}">
                <a16:creationId xmlns:a16="http://schemas.microsoft.com/office/drawing/2014/main" id="{9BC2F6E7-A417-BD6F-2F2E-5DC5459FD511}"/>
              </a:ext>
            </a:extLst>
          </p:cNvPr>
          <p:cNvPicPr>
            <a:picLocks noChangeAspect="1"/>
          </p:cNvPicPr>
          <p:nvPr/>
        </p:nvPicPr>
        <p:blipFill>
          <a:blip r:embed="rId3"/>
          <a:stretch>
            <a:fillRect/>
          </a:stretch>
        </p:blipFill>
        <p:spPr>
          <a:xfrm>
            <a:off x="576263" y="728335"/>
            <a:ext cx="6979009" cy="3886400"/>
          </a:xfrm>
          <a:prstGeom prst="rect">
            <a:avLst/>
          </a:prstGeom>
        </p:spPr>
      </p:pic>
    </p:spTree>
    <p:extLst>
      <p:ext uri="{BB962C8B-B14F-4D97-AF65-F5344CB8AC3E}">
        <p14:creationId xmlns:p14="http://schemas.microsoft.com/office/powerpoint/2010/main" val="1624865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Further Learning</a:t>
            </a:r>
          </a:p>
        </p:txBody>
      </p:sp>
    </p:spTree>
    <p:extLst>
      <p:ext uri="{BB962C8B-B14F-4D97-AF65-F5344CB8AC3E}">
        <p14:creationId xmlns:p14="http://schemas.microsoft.com/office/powerpoint/2010/main" val="97040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775BB80-7219-F452-4688-3B2183BFE029}"/>
              </a:ext>
            </a:extLst>
          </p:cNvPr>
          <p:cNvPicPr>
            <a:picLocks noChangeAspect="1"/>
          </p:cNvPicPr>
          <p:nvPr/>
        </p:nvPicPr>
        <p:blipFill>
          <a:blip r:embed="rId3"/>
          <a:stretch>
            <a:fillRect/>
          </a:stretch>
        </p:blipFill>
        <p:spPr>
          <a:xfrm>
            <a:off x="110895" y="1162543"/>
            <a:ext cx="8922209" cy="3245017"/>
          </a:xfrm>
          <a:prstGeom prst="rect">
            <a:avLst/>
          </a:prstGeom>
        </p:spPr>
      </p:pic>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a:xfrm>
            <a:off x="576263" y="195263"/>
            <a:ext cx="7821950" cy="504825"/>
          </a:xfrm>
        </p:spPr>
        <p:txBody>
          <a:bodyPr/>
          <a:lstStyle/>
          <a:p>
            <a:r>
              <a:rPr lang="en-US" dirty="0"/>
              <a:t>Summary of Cardiac Cycle Lecture</a:t>
            </a:r>
          </a:p>
        </p:txBody>
      </p:sp>
      <p:sp>
        <p:nvSpPr>
          <p:cNvPr id="11" name="TextBox 10">
            <a:extLst>
              <a:ext uri="{FF2B5EF4-FFF2-40B4-BE49-F238E27FC236}">
                <a16:creationId xmlns:a16="http://schemas.microsoft.com/office/drawing/2014/main" id="{2A5023F8-E83D-8F12-C996-AF41C2358BDE}"/>
              </a:ext>
            </a:extLst>
          </p:cNvPr>
          <p:cNvSpPr txBox="1"/>
          <p:nvPr/>
        </p:nvSpPr>
        <p:spPr>
          <a:xfrm>
            <a:off x="5654707" y="2347267"/>
            <a:ext cx="3346867" cy="2246769"/>
          </a:xfrm>
          <a:prstGeom prst="rect">
            <a:avLst/>
          </a:prstGeom>
          <a:noFill/>
        </p:spPr>
        <p:txBody>
          <a:bodyPr wrap="square">
            <a:spAutoFit/>
          </a:bodyPr>
          <a:lstStyle/>
          <a:p>
            <a:r>
              <a:rPr lang="en-US" sz="1400" dirty="0"/>
              <a:t>https://www.clinicalkey.com/student/content/book/3-s2.0-B9788131258903000129?origin=share&amp;title=Clinical%20Learning%2FCardiovascular%20System&amp;meta=2018%2C%20Chowdhry%2C%20Anupama%2C%20Dr.&amp;img=https%3A%2F%2Fcdn.clinicalkey.com%2Fck-thumbnails%2FC20190018511%2Fcov200h.gif</a:t>
            </a:r>
          </a:p>
        </p:txBody>
      </p:sp>
      <p:sp>
        <p:nvSpPr>
          <p:cNvPr id="12" name="TextBox 11">
            <a:extLst>
              <a:ext uri="{FF2B5EF4-FFF2-40B4-BE49-F238E27FC236}">
                <a16:creationId xmlns:a16="http://schemas.microsoft.com/office/drawing/2014/main" id="{7F334C4D-4B4D-35C1-C448-5FD80928E558}"/>
              </a:ext>
            </a:extLst>
          </p:cNvPr>
          <p:cNvSpPr txBox="1"/>
          <p:nvPr/>
        </p:nvSpPr>
        <p:spPr>
          <a:xfrm>
            <a:off x="5654707" y="2039490"/>
            <a:ext cx="2977490" cy="307777"/>
          </a:xfrm>
          <a:prstGeom prst="rect">
            <a:avLst/>
          </a:prstGeom>
          <a:noFill/>
        </p:spPr>
        <p:txBody>
          <a:bodyPr wrap="square">
            <a:spAutoFit/>
          </a:bodyPr>
          <a:lstStyle/>
          <a:p>
            <a:r>
              <a:rPr lang="en-US" sz="1400" b="1" dirty="0"/>
              <a:t>COURSE LINK</a:t>
            </a:r>
            <a:endParaRPr lang="en-US" sz="1200" b="1" dirty="0"/>
          </a:p>
        </p:txBody>
      </p:sp>
    </p:spTree>
    <p:extLst>
      <p:ext uri="{BB962C8B-B14F-4D97-AF65-F5344CB8AC3E}">
        <p14:creationId xmlns:p14="http://schemas.microsoft.com/office/powerpoint/2010/main" val="410888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Cardiac Cycle Quick Revision</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osmosis.org/learn/Cardiac_cycle</a:t>
            </a:r>
            <a:r>
              <a:rPr lang="en-US" sz="800" b="0" i="0" dirty="0">
                <a:solidFill>
                  <a:srgbClr val="2E2E2E"/>
                </a:solidFill>
                <a:effectLst/>
                <a:latin typeface="ElsevierSansWeb"/>
              </a:rPr>
              <a:t> </a:t>
            </a:r>
            <a:endParaRPr lang="en-US" sz="800" dirty="0"/>
          </a:p>
        </p:txBody>
      </p:sp>
      <p:pic>
        <p:nvPicPr>
          <p:cNvPr id="4" name="Picture 3">
            <a:extLst>
              <a:ext uri="{FF2B5EF4-FFF2-40B4-BE49-F238E27FC236}">
                <a16:creationId xmlns:a16="http://schemas.microsoft.com/office/drawing/2014/main" id="{AB6CA42F-1491-04C4-175D-74B41DF4C255}"/>
              </a:ext>
            </a:extLst>
          </p:cNvPr>
          <p:cNvPicPr>
            <a:picLocks noChangeAspect="1"/>
          </p:cNvPicPr>
          <p:nvPr/>
        </p:nvPicPr>
        <p:blipFill>
          <a:blip r:embed="rId3"/>
          <a:stretch>
            <a:fillRect/>
          </a:stretch>
        </p:blipFill>
        <p:spPr>
          <a:xfrm>
            <a:off x="483476" y="1244241"/>
            <a:ext cx="6568966" cy="3512767"/>
          </a:xfrm>
          <a:prstGeom prst="rect">
            <a:avLst/>
          </a:prstGeom>
        </p:spPr>
      </p:pic>
      <p:sp>
        <p:nvSpPr>
          <p:cNvPr id="7" name="TextBox 6">
            <a:extLst>
              <a:ext uri="{FF2B5EF4-FFF2-40B4-BE49-F238E27FC236}">
                <a16:creationId xmlns:a16="http://schemas.microsoft.com/office/drawing/2014/main" id="{A04908A4-AB2F-C7DD-1588-4DEE03713261}"/>
              </a:ext>
            </a:extLst>
          </p:cNvPr>
          <p:cNvSpPr txBox="1"/>
          <p:nvPr/>
        </p:nvSpPr>
        <p:spPr>
          <a:xfrm>
            <a:off x="7136525" y="1186755"/>
            <a:ext cx="1923833" cy="1384995"/>
          </a:xfrm>
          <a:prstGeom prst="rect">
            <a:avLst/>
          </a:prstGeom>
          <a:noFill/>
        </p:spPr>
        <p:txBody>
          <a:bodyPr wrap="square">
            <a:spAutoFit/>
          </a:bodyPr>
          <a:lstStyle/>
          <a:p>
            <a:pPr marL="285750" indent="-285750">
              <a:buFont typeface="Arial" panose="020B0604020202020204" pitchFamily="34" charset="0"/>
              <a:buChar char="•"/>
            </a:pPr>
            <a:r>
              <a:rPr lang="en-US" sz="1400" dirty="0"/>
              <a:t>Watch the video</a:t>
            </a:r>
          </a:p>
          <a:p>
            <a:pPr marL="285750" indent="-285750">
              <a:buFont typeface="Arial" panose="020B0604020202020204" pitchFamily="34" charset="0"/>
              <a:buChar char="•"/>
            </a:pPr>
            <a:r>
              <a:rPr lang="en-US" sz="1400" dirty="0"/>
              <a:t>Practice using flashcards</a:t>
            </a:r>
          </a:p>
          <a:p>
            <a:pPr marL="285750" indent="-285750">
              <a:buFont typeface="Arial" panose="020B0604020202020204" pitchFamily="34" charset="0"/>
              <a:buChar char="•"/>
            </a:pPr>
            <a:r>
              <a:rPr lang="en-US" sz="1400" dirty="0"/>
              <a:t>Answer the preclinical questions</a:t>
            </a:r>
          </a:p>
        </p:txBody>
      </p:sp>
      <p:pic>
        <p:nvPicPr>
          <p:cNvPr id="9" name="Picture 8">
            <a:extLst>
              <a:ext uri="{FF2B5EF4-FFF2-40B4-BE49-F238E27FC236}">
                <a16:creationId xmlns:a16="http://schemas.microsoft.com/office/drawing/2014/main" id="{05F6BD27-E095-21D2-22AE-FB81AB08983C}"/>
              </a:ext>
            </a:extLst>
          </p:cNvPr>
          <p:cNvPicPr>
            <a:picLocks noChangeAspect="1"/>
          </p:cNvPicPr>
          <p:nvPr/>
        </p:nvPicPr>
        <p:blipFill>
          <a:blip r:embed="rId4"/>
          <a:stretch>
            <a:fillRect/>
          </a:stretch>
        </p:blipFill>
        <p:spPr>
          <a:xfrm>
            <a:off x="7136525" y="3273136"/>
            <a:ext cx="1779896" cy="1525625"/>
          </a:xfrm>
          <a:prstGeom prst="rect">
            <a:avLst/>
          </a:prstGeom>
        </p:spPr>
      </p:pic>
    </p:spTree>
    <p:extLst>
      <p:ext uri="{BB962C8B-B14F-4D97-AF65-F5344CB8AC3E}">
        <p14:creationId xmlns:p14="http://schemas.microsoft.com/office/powerpoint/2010/main" val="358498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2781953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Pre-Read</a:t>
            </a:r>
          </a:p>
        </p:txBody>
      </p:sp>
    </p:spTree>
    <p:extLst>
      <p:ext uri="{BB962C8B-B14F-4D97-AF65-F5344CB8AC3E}">
        <p14:creationId xmlns:p14="http://schemas.microsoft.com/office/powerpoint/2010/main" val="3036708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Cardiac Cycle – Case-Based Learning</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rPr>
              <a:t>ClinicalKey Student Assessment</a:t>
            </a:r>
            <a:endParaRPr lang="en-US" sz="800" dirty="0"/>
          </a:p>
        </p:txBody>
      </p:sp>
      <p:sp>
        <p:nvSpPr>
          <p:cNvPr id="8" name="TextBox 7">
            <a:extLst>
              <a:ext uri="{FF2B5EF4-FFF2-40B4-BE49-F238E27FC236}">
                <a16:creationId xmlns:a16="http://schemas.microsoft.com/office/drawing/2014/main" id="{8165D510-0678-BF91-EA7F-187EC9B9229B}"/>
              </a:ext>
            </a:extLst>
          </p:cNvPr>
          <p:cNvSpPr txBox="1"/>
          <p:nvPr/>
        </p:nvSpPr>
        <p:spPr>
          <a:xfrm>
            <a:off x="576263" y="700088"/>
            <a:ext cx="8403834" cy="1384995"/>
          </a:xfrm>
          <a:prstGeom prst="rect">
            <a:avLst/>
          </a:prstGeom>
          <a:noFill/>
        </p:spPr>
        <p:txBody>
          <a:bodyPr wrap="square">
            <a:spAutoFit/>
          </a:bodyPr>
          <a:lstStyle/>
          <a:p>
            <a:r>
              <a:rPr lang="en-US" sz="1400" dirty="0">
                <a:solidFill>
                  <a:schemeClr val="accent2"/>
                </a:solidFill>
                <a:latin typeface="Georgia" panose="02040502050405020303" pitchFamily="18" charset="0"/>
              </a:rPr>
              <a:t>CASE 1</a:t>
            </a:r>
          </a:p>
          <a:p>
            <a:r>
              <a:rPr lang="en-US" sz="1400" dirty="0">
                <a:solidFill>
                  <a:schemeClr val="accent2"/>
                </a:solidFill>
                <a:latin typeface="Georgia" panose="02040502050405020303" pitchFamily="18" charset="0"/>
              </a:rPr>
              <a:t>A 24-year-old man consults for a systematic physical examination. His blood pressure AT REST is currently 120/80 mmHg and his heart rate is 75 beats/min. He is recommended to begin an exercise program. When he returns 3 months later his heart rate has decreased to 50 beats/min (asymptomatic). What values would you expect to see different in this patient AT REST compared to those obtained 3 months earlier?</a:t>
            </a:r>
          </a:p>
        </p:txBody>
      </p:sp>
      <p:pic>
        <p:nvPicPr>
          <p:cNvPr id="9" name="Picture 8">
            <a:extLst>
              <a:ext uri="{FF2B5EF4-FFF2-40B4-BE49-F238E27FC236}">
                <a16:creationId xmlns:a16="http://schemas.microsoft.com/office/drawing/2014/main" id="{AFFAF98A-C260-CDE5-EE8E-E42C0C9E185A}"/>
              </a:ext>
            </a:extLst>
          </p:cNvPr>
          <p:cNvPicPr>
            <a:picLocks noChangeAspect="1"/>
          </p:cNvPicPr>
          <p:nvPr/>
        </p:nvPicPr>
        <p:blipFill>
          <a:blip r:embed="rId3"/>
          <a:stretch>
            <a:fillRect/>
          </a:stretch>
        </p:blipFill>
        <p:spPr>
          <a:xfrm>
            <a:off x="576263" y="2085083"/>
            <a:ext cx="4902452" cy="2140060"/>
          </a:xfrm>
          <a:prstGeom prst="rect">
            <a:avLst/>
          </a:prstGeom>
        </p:spPr>
      </p:pic>
      <p:pic>
        <p:nvPicPr>
          <p:cNvPr id="11" name="Picture 10">
            <a:extLst>
              <a:ext uri="{FF2B5EF4-FFF2-40B4-BE49-F238E27FC236}">
                <a16:creationId xmlns:a16="http://schemas.microsoft.com/office/drawing/2014/main" id="{C79354F5-89F5-88A7-67E9-DDA9FBB094F5}"/>
              </a:ext>
            </a:extLst>
          </p:cNvPr>
          <p:cNvPicPr>
            <a:picLocks noChangeAspect="1"/>
          </p:cNvPicPr>
          <p:nvPr/>
        </p:nvPicPr>
        <p:blipFill>
          <a:blip r:embed="rId4"/>
          <a:stretch>
            <a:fillRect/>
          </a:stretch>
        </p:blipFill>
        <p:spPr>
          <a:xfrm>
            <a:off x="5465379" y="3014784"/>
            <a:ext cx="3514718" cy="1167614"/>
          </a:xfrm>
          <a:prstGeom prst="rect">
            <a:avLst/>
          </a:prstGeom>
        </p:spPr>
      </p:pic>
      <p:pic>
        <p:nvPicPr>
          <p:cNvPr id="13" name="Picture 12">
            <a:extLst>
              <a:ext uri="{FF2B5EF4-FFF2-40B4-BE49-F238E27FC236}">
                <a16:creationId xmlns:a16="http://schemas.microsoft.com/office/drawing/2014/main" id="{144A7240-347A-8649-4059-9DE99CED2ED2}"/>
              </a:ext>
            </a:extLst>
          </p:cNvPr>
          <p:cNvPicPr>
            <a:picLocks noChangeAspect="1"/>
          </p:cNvPicPr>
          <p:nvPr/>
        </p:nvPicPr>
        <p:blipFill>
          <a:blip r:embed="rId5"/>
          <a:stretch>
            <a:fillRect/>
          </a:stretch>
        </p:blipFill>
        <p:spPr>
          <a:xfrm>
            <a:off x="5629282" y="4288968"/>
            <a:ext cx="3514718" cy="823131"/>
          </a:xfrm>
          <a:prstGeom prst="rect">
            <a:avLst/>
          </a:prstGeom>
        </p:spPr>
      </p:pic>
    </p:spTree>
    <p:extLst>
      <p:ext uri="{BB962C8B-B14F-4D97-AF65-F5344CB8AC3E}">
        <p14:creationId xmlns:p14="http://schemas.microsoft.com/office/powerpoint/2010/main" val="126103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Case-Based Learning</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rPr>
              <a:t>ClinicalKey Student Assessment</a:t>
            </a:r>
            <a:endParaRPr lang="en-US" sz="800" dirty="0"/>
          </a:p>
        </p:txBody>
      </p:sp>
      <p:sp>
        <p:nvSpPr>
          <p:cNvPr id="8" name="TextBox 7">
            <a:extLst>
              <a:ext uri="{FF2B5EF4-FFF2-40B4-BE49-F238E27FC236}">
                <a16:creationId xmlns:a16="http://schemas.microsoft.com/office/drawing/2014/main" id="{8165D510-0678-BF91-EA7F-187EC9B9229B}"/>
              </a:ext>
            </a:extLst>
          </p:cNvPr>
          <p:cNvSpPr txBox="1"/>
          <p:nvPr/>
        </p:nvSpPr>
        <p:spPr>
          <a:xfrm>
            <a:off x="576263" y="700088"/>
            <a:ext cx="8403834" cy="738664"/>
          </a:xfrm>
          <a:prstGeom prst="rect">
            <a:avLst/>
          </a:prstGeom>
          <a:noFill/>
        </p:spPr>
        <p:txBody>
          <a:bodyPr wrap="square">
            <a:spAutoFit/>
          </a:bodyPr>
          <a:lstStyle/>
          <a:p>
            <a:r>
              <a:rPr lang="en-US" sz="1400" dirty="0">
                <a:solidFill>
                  <a:srgbClr val="7030A0"/>
                </a:solidFill>
                <a:latin typeface="Georgia" panose="02040502050405020303" pitchFamily="18" charset="0"/>
              </a:rPr>
              <a:t>CASE 2</a:t>
            </a:r>
          </a:p>
          <a:p>
            <a:r>
              <a:rPr lang="en-US" sz="1400" dirty="0">
                <a:solidFill>
                  <a:srgbClr val="7030A0"/>
                </a:solidFill>
                <a:latin typeface="Georgia" panose="02040502050405020303" pitchFamily="18" charset="0"/>
              </a:rPr>
              <a:t>A patient with a resting cardiac output of 4 L/min does maximum exercise and their cardiac output increases to 8 L/min. What's their cardiac reserve?</a:t>
            </a:r>
          </a:p>
        </p:txBody>
      </p:sp>
      <p:pic>
        <p:nvPicPr>
          <p:cNvPr id="6" name="Picture 5">
            <a:extLst>
              <a:ext uri="{FF2B5EF4-FFF2-40B4-BE49-F238E27FC236}">
                <a16:creationId xmlns:a16="http://schemas.microsoft.com/office/drawing/2014/main" id="{0F93D444-2A68-631E-CE38-80D31094DAA1}"/>
              </a:ext>
            </a:extLst>
          </p:cNvPr>
          <p:cNvPicPr>
            <a:picLocks noChangeAspect="1"/>
          </p:cNvPicPr>
          <p:nvPr/>
        </p:nvPicPr>
        <p:blipFill>
          <a:blip r:embed="rId3"/>
          <a:stretch>
            <a:fillRect/>
          </a:stretch>
        </p:blipFill>
        <p:spPr>
          <a:xfrm>
            <a:off x="653485" y="1716148"/>
            <a:ext cx="4915153" cy="1054154"/>
          </a:xfrm>
          <a:prstGeom prst="rect">
            <a:avLst/>
          </a:prstGeom>
        </p:spPr>
      </p:pic>
      <p:pic>
        <p:nvPicPr>
          <p:cNvPr id="10" name="Picture 9">
            <a:extLst>
              <a:ext uri="{FF2B5EF4-FFF2-40B4-BE49-F238E27FC236}">
                <a16:creationId xmlns:a16="http://schemas.microsoft.com/office/drawing/2014/main" id="{B82FF702-5A27-05B8-B5D0-1928D9462521}"/>
              </a:ext>
            </a:extLst>
          </p:cNvPr>
          <p:cNvPicPr>
            <a:picLocks noChangeAspect="1"/>
          </p:cNvPicPr>
          <p:nvPr/>
        </p:nvPicPr>
        <p:blipFill>
          <a:blip r:embed="rId4"/>
          <a:stretch>
            <a:fillRect/>
          </a:stretch>
        </p:blipFill>
        <p:spPr>
          <a:xfrm>
            <a:off x="491551" y="2860219"/>
            <a:ext cx="5239019" cy="558829"/>
          </a:xfrm>
          <a:prstGeom prst="rect">
            <a:avLst/>
          </a:prstGeom>
        </p:spPr>
      </p:pic>
      <p:pic>
        <p:nvPicPr>
          <p:cNvPr id="12" name="Picture 11">
            <a:extLst>
              <a:ext uri="{FF2B5EF4-FFF2-40B4-BE49-F238E27FC236}">
                <a16:creationId xmlns:a16="http://schemas.microsoft.com/office/drawing/2014/main" id="{4867F9B1-8F8C-EA75-D4B3-71716D3C21C6}"/>
              </a:ext>
            </a:extLst>
          </p:cNvPr>
          <p:cNvPicPr>
            <a:picLocks noChangeAspect="1"/>
          </p:cNvPicPr>
          <p:nvPr/>
        </p:nvPicPr>
        <p:blipFill>
          <a:blip r:embed="rId5"/>
          <a:stretch>
            <a:fillRect/>
          </a:stretch>
        </p:blipFill>
        <p:spPr>
          <a:xfrm>
            <a:off x="4163618" y="4039907"/>
            <a:ext cx="4705592" cy="1016052"/>
          </a:xfrm>
          <a:prstGeom prst="rect">
            <a:avLst/>
          </a:prstGeom>
        </p:spPr>
      </p:pic>
    </p:spTree>
    <p:extLst>
      <p:ext uri="{BB962C8B-B14F-4D97-AF65-F5344CB8AC3E}">
        <p14:creationId xmlns:p14="http://schemas.microsoft.com/office/powerpoint/2010/main" val="327938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D90C21C-AFE3-64CE-2029-8B4F7B7347A5}"/>
              </a:ext>
            </a:extLst>
          </p:cNvPr>
          <p:cNvSpPr>
            <a:spLocks noGrp="1"/>
          </p:cNvSpPr>
          <p:nvPr>
            <p:ph type="body" sz="quarter" idx="13"/>
          </p:nvPr>
        </p:nvSpPr>
        <p:spPr/>
        <p:txBody>
          <a:bodyPr>
            <a:normAutofit/>
          </a:bodyPr>
          <a:lstStyle/>
          <a:p>
            <a:r>
              <a:rPr lang="en-US" sz="1400" dirty="0"/>
              <a:t>Objective: Familiarize/ revise key concepts in heart anatomy.</a:t>
            </a:r>
          </a:p>
          <a:p>
            <a:r>
              <a:rPr lang="en-US" sz="1400" dirty="0"/>
              <a:t>Read the following topics:</a:t>
            </a:r>
          </a:p>
          <a:p>
            <a:pPr marL="285750" indent="-285750">
              <a:buFont typeface="Arial" panose="020B0604020202020204" pitchFamily="34" charset="0"/>
              <a:buChar char="•"/>
            </a:pPr>
            <a:r>
              <a:rPr lang="en-US" sz="1400" dirty="0">
                <a:hlinkClick r:id="rId2"/>
              </a:rPr>
              <a:t>Electrical cells</a:t>
            </a:r>
            <a:r>
              <a:rPr lang="en-US" sz="1400" dirty="0"/>
              <a:t>, </a:t>
            </a:r>
            <a:r>
              <a:rPr lang="en-US" sz="1400" dirty="0">
                <a:hlinkClick r:id="rId3"/>
              </a:rPr>
              <a:t>Ion channels</a:t>
            </a:r>
            <a:r>
              <a:rPr lang="en-US" sz="1400" dirty="0"/>
              <a:t>, </a:t>
            </a:r>
            <a:r>
              <a:rPr lang="en-US" sz="1400" dirty="0">
                <a:hlinkClick r:id="rId4"/>
              </a:rPr>
              <a:t>Conduction system</a:t>
            </a:r>
            <a:r>
              <a:rPr lang="en-US" sz="1400" dirty="0"/>
              <a:t>, </a:t>
            </a:r>
            <a:r>
              <a:rPr lang="en-US" sz="1400" dirty="0">
                <a:hlinkClick r:id="rId5"/>
              </a:rPr>
              <a:t>Contractile cells</a:t>
            </a:r>
            <a:endParaRPr lang="en-US" sz="1400" dirty="0"/>
          </a:p>
          <a:p>
            <a:pPr marL="285750" indent="-285750">
              <a:buFont typeface="Arial" panose="020B0604020202020204" pitchFamily="34" charset="0"/>
              <a:buChar char="•"/>
            </a:pPr>
            <a:r>
              <a:rPr lang="en-US" sz="1400" dirty="0">
                <a:hlinkClick r:id="rId6"/>
              </a:rPr>
              <a:t>Anatomy of the Heart</a:t>
            </a:r>
            <a:endParaRPr lang="en-US" sz="1400" dirty="0"/>
          </a:p>
          <a:p>
            <a:pPr marL="285750" indent="-285750">
              <a:buFont typeface="Arial" panose="020B0604020202020204" pitchFamily="34" charset="0"/>
              <a:buChar char="•"/>
            </a:pPr>
            <a:r>
              <a:rPr lang="en-US" sz="1400" dirty="0">
                <a:hlinkClick r:id="rId7"/>
              </a:rPr>
              <a:t>Coronary Blood Flow</a:t>
            </a:r>
            <a:endParaRPr lang="en-US" sz="1400" dirty="0"/>
          </a:p>
          <a:p>
            <a:pPr marL="285750" indent="-285750">
              <a:buFont typeface="Arial" panose="020B0604020202020204" pitchFamily="34" charset="0"/>
              <a:buChar char="•"/>
            </a:pPr>
            <a:r>
              <a:rPr lang="en-US" sz="1400" dirty="0">
                <a:hlinkClick r:id="rId8"/>
              </a:rPr>
              <a:t>Metabolic Regulation of the Cardiovascular System</a:t>
            </a:r>
            <a:endParaRPr lang="en-US" sz="1400" dirty="0"/>
          </a:p>
        </p:txBody>
      </p:sp>
      <p:sp>
        <p:nvSpPr>
          <p:cNvPr id="3" name="Title 2">
            <a:extLst>
              <a:ext uri="{FF2B5EF4-FFF2-40B4-BE49-F238E27FC236}">
                <a16:creationId xmlns:a16="http://schemas.microsoft.com/office/drawing/2014/main" id="{B69F5AF4-6741-8C5D-13FF-F8153905C4D1}"/>
              </a:ext>
            </a:extLst>
          </p:cNvPr>
          <p:cNvSpPr>
            <a:spLocks noGrp="1"/>
          </p:cNvSpPr>
          <p:nvPr>
            <p:ph type="title"/>
          </p:nvPr>
        </p:nvSpPr>
        <p:spPr/>
        <p:txBody>
          <a:bodyPr/>
          <a:lstStyle/>
          <a:p>
            <a:r>
              <a:rPr lang="en-US" dirty="0"/>
              <a:t>Heart Anatomy</a:t>
            </a:r>
          </a:p>
        </p:txBody>
      </p:sp>
    </p:spTree>
    <p:extLst>
      <p:ext uri="{BB962C8B-B14F-4D97-AF65-F5344CB8AC3E}">
        <p14:creationId xmlns:p14="http://schemas.microsoft.com/office/powerpoint/2010/main" val="71440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D90C21C-AFE3-64CE-2029-8B4F7B7347A5}"/>
              </a:ext>
            </a:extLst>
          </p:cNvPr>
          <p:cNvSpPr>
            <a:spLocks noGrp="1"/>
          </p:cNvSpPr>
          <p:nvPr>
            <p:ph type="body" sz="quarter" idx="13"/>
          </p:nvPr>
        </p:nvSpPr>
        <p:spPr/>
        <p:txBody>
          <a:bodyPr>
            <a:normAutofit/>
          </a:bodyPr>
          <a:lstStyle/>
          <a:p>
            <a:r>
              <a:rPr lang="en-US" sz="1400" dirty="0"/>
              <a:t>Objective: Familiarize/ revise key concepts in heart anatomy.</a:t>
            </a:r>
          </a:p>
          <a:p>
            <a:r>
              <a:rPr lang="en-US" sz="1400" dirty="0"/>
              <a:t>Read the following topics:</a:t>
            </a:r>
          </a:p>
          <a:p>
            <a:pPr marL="285750" indent="-285750">
              <a:buFont typeface="Arial" panose="020B0604020202020204" pitchFamily="34" charset="0"/>
              <a:buChar char="•"/>
            </a:pPr>
            <a:r>
              <a:rPr lang="en-US" sz="1400" dirty="0">
                <a:hlinkClick r:id="rId2"/>
              </a:rPr>
              <a:t>Electrical cells</a:t>
            </a:r>
            <a:r>
              <a:rPr lang="en-US" sz="1400" dirty="0"/>
              <a:t>, </a:t>
            </a:r>
            <a:r>
              <a:rPr lang="en-US" sz="1400" dirty="0">
                <a:hlinkClick r:id="rId3"/>
              </a:rPr>
              <a:t>Ion channels</a:t>
            </a:r>
            <a:r>
              <a:rPr lang="en-US" sz="1400" dirty="0"/>
              <a:t>, </a:t>
            </a:r>
            <a:r>
              <a:rPr lang="en-US" sz="1400" dirty="0">
                <a:hlinkClick r:id="rId4"/>
              </a:rPr>
              <a:t>Conduction system</a:t>
            </a:r>
            <a:r>
              <a:rPr lang="en-US" sz="1400" dirty="0"/>
              <a:t>, </a:t>
            </a:r>
            <a:r>
              <a:rPr lang="en-US" sz="1400" dirty="0">
                <a:hlinkClick r:id="rId5"/>
              </a:rPr>
              <a:t>Contractile cells</a:t>
            </a:r>
            <a:endParaRPr lang="en-US" sz="1400" dirty="0"/>
          </a:p>
          <a:p>
            <a:pPr marL="285750" indent="-285750">
              <a:buFont typeface="Arial" panose="020B0604020202020204" pitchFamily="34" charset="0"/>
              <a:buChar char="•"/>
            </a:pPr>
            <a:r>
              <a:rPr lang="en-US" sz="1400" dirty="0">
                <a:hlinkClick r:id="rId6"/>
              </a:rPr>
              <a:t>Anatomy of the Heart</a:t>
            </a:r>
            <a:endParaRPr lang="en-US" sz="1400" dirty="0"/>
          </a:p>
          <a:p>
            <a:pPr marL="285750" indent="-285750">
              <a:buFont typeface="Arial" panose="020B0604020202020204" pitchFamily="34" charset="0"/>
              <a:buChar char="•"/>
            </a:pPr>
            <a:r>
              <a:rPr lang="en-US" sz="1400" dirty="0">
                <a:hlinkClick r:id="rId7"/>
              </a:rPr>
              <a:t>Coronary Blood Flow</a:t>
            </a:r>
            <a:endParaRPr lang="en-US" sz="1400" dirty="0"/>
          </a:p>
          <a:p>
            <a:pPr marL="285750" indent="-285750">
              <a:buFont typeface="Arial" panose="020B0604020202020204" pitchFamily="34" charset="0"/>
              <a:buChar char="•"/>
            </a:pPr>
            <a:r>
              <a:rPr lang="en-US" sz="1400" dirty="0">
                <a:hlinkClick r:id="rId8"/>
              </a:rPr>
              <a:t>Metabolic Regulation of the Cardiovascular System</a:t>
            </a:r>
            <a:endParaRPr lang="en-US" sz="1400" dirty="0"/>
          </a:p>
        </p:txBody>
      </p:sp>
      <p:sp>
        <p:nvSpPr>
          <p:cNvPr id="3" name="Title 2">
            <a:extLst>
              <a:ext uri="{FF2B5EF4-FFF2-40B4-BE49-F238E27FC236}">
                <a16:creationId xmlns:a16="http://schemas.microsoft.com/office/drawing/2014/main" id="{B69F5AF4-6741-8C5D-13FF-F8153905C4D1}"/>
              </a:ext>
            </a:extLst>
          </p:cNvPr>
          <p:cNvSpPr>
            <a:spLocks noGrp="1"/>
          </p:cNvSpPr>
          <p:nvPr>
            <p:ph type="title"/>
          </p:nvPr>
        </p:nvSpPr>
        <p:spPr/>
        <p:txBody>
          <a:bodyPr/>
          <a:lstStyle/>
          <a:p>
            <a:r>
              <a:rPr lang="en-US" dirty="0"/>
              <a:t>Heart Anatomy</a:t>
            </a:r>
          </a:p>
        </p:txBody>
      </p:sp>
      <p:sp>
        <p:nvSpPr>
          <p:cNvPr id="4" name="TextBox 3">
            <a:extLst>
              <a:ext uri="{FF2B5EF4-FFF2-40B4-BE49-F238E27FC236}">
                <a16:creationId xmlns:a16="http://schemas.microsoft.com/office/drawing/2014/main" id="{B7CC3635-17ED-E4C4-6F74-40BB375FA20D}"/>
              </a:ext>
            </a:extLst>
          </p:cNvPr>
          <p:cNvSpPr txBox="1"/>
          <p:nvPr/>
        </p:nvSpPr>
        <p:spPr>
          <a:xfrm>
            <a:off x="5833241" y="578069"/>
            <a:ext cx="1965435" cy="369332"/>
          </a:xfrm>
          <a:prstGeom prst="rect">
            <a:avLst/>
          </a:prstGeom>
          <a:solidFill>
            <a:srgbClr val="FDD300"/>
          </a:solidFill>
        </p:spPr>
        <p:txBody>
          <a:bodyPr wrap="square" rtlCol="0">
            <a:spAutoFit/>
          </a:bodyPr>
          <a:lstStyle/>
          <a:p>
            <a:r>
              <a:rPr lang="en-US" dirty="0"/>
              <a:t>Insert diagram</a:t>
            </a:r>
          </a:p>
        </p:txBody>
      </p:sp>
    </p:spTree>
    <p:extLst>
      <p:ext uri="{BB962C8B-B14F-4D97-AF65-F5344CB8AC3E}">
        <p14:creationId xmlns:p14="http://schemas.microsoft.com/office/powerpoint/2010/main" val="30088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Lecture</a:t>
            </a:r>
          </a:p>
        </p:txBody>
      </p:sp>
    </p:spTree>
    <p:extLst>
      <p:ext uri="{BB962C8B-B14F-4D97-AF65-F5344CB8AC3E}">
        <p14:creationId xmlns:p14="http://schemas.microsoft.com/office/powerpoint/2010/main" val="39464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Overview of Cardiac Cycle</a:t>
            </a:r>
          </a:p>
        </p:txBody>
      </p:sp>
      <p:sp>
        <p:nvSpPr>
          <p:cNvPr id="3" name="TextBox 2">
            <a:extLst>
              <a:ext uri="{FF2B5EF4-FFF2-40B4-BE49-F238E27FC236}">
                <a16:creationId xmlns:a16="http://schemas.microsoft.com/office/drawing/2014/main" id="{6B5BDD6B-3FA3-CCF1-0644-CC676AF073FC}"/>
              </a:ext>
            </a:extLst>
          </p:cNvPr>
          <p:cNvSpPr txBox="1"/>
          <p:nvPr/>
        </p:nvSpPr>
        <p:spPr>
          <a:xfrm>
            <a:off x="370082" y="4693374"/>
            <a:ext cx="8637284"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560400048X#hl0000128</a:t>
            </a:r>
            <a:r>
              <a:rPr lang="en-US" sz="800" b="0" i="0" dirty="0">
                <a:solidFill>
                  <a:srgbClr val="2E2E2E"/>
                </a:solidFill>
                <a:effectLst/>
                <a:latin typeface="ElsevierSansWeb"/>
              </a:rPr>
              <a:t>; </a:t>
            </a:r>
            <a:r>
              <a:rPr lang="en-US" sz="800" b="0" i="0" dirty="0">
                <a:solidFill>
                  <a:srgbClr val="2E2E2E"/>
                </a:solidFill>
                <a:effectLst/>
                <a:latin typeface="ElsevierSansWeb"/>
                <a:hlinkClick r:id="rId3"/>
              </a:rPr>
              <a:t>https://www.clinicalkey.com/student/content/book/3-s2.0-B9780323930383000411#hl0000223</a:t>
            </a:r>
            <a:r>
              <a:rPr lang="en-US" sz="800" b="0" i="0" dirty="0">
                <a:solidFill>
                  <a:srgbClr val="2E2E2E"/>
                </a:solidFill>
                <a:effectLst/>
                <a:latin typeface="ElsevierSansWeb"/>
              </a:rPr>
              <a:t>  </a:t>
            </a:r>
            <a:endParaRPr lang="en-US" sz="800" dirty="0"/>
          </a:p>
        </p:txBody>
      </p:sp>
      <p:sp>
        <p:nvSpPr>
          <p:cNvPr id="8" name="Text Placeholder 1">
            <a:extLst>
              <a:ext uri="{FF2B5EF4-FFF2-40B4-BE49-F238E27FC236}">
                <a16:creationId xmlns:a16="http://schemas.microsoft.com/office/drawing/2014/main" id="{AD672D07-BF26-4BEA-F688-B8D478633643}"/>
              </a:ext>
            </a:extLst>
          </p:cNvPr>
          <p:cNvSpPr txBox="1">
            <a:spLocks/>
          </p:cNvSpPr>
          <p:nvPr/>
        </p:nvSpPr>
        <p:spPr>
          <a:xfrm>
            <a:off x="576263" y="835026"/>
            <a:ext cx="8431103"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Cardiac cycle is the sequence of electrical and mechanical events occurring from initiation of one heartbeat to the initiation of next subsequent heartbeat. It includes</a:t>
            </a:r>
          </a:p>
          <a:p>
            <a:pPr marL="465750" lvl="1" indent="-285750"/>
            <a:r>
              <a:rPr lang="en-US" sz="1200" dirty="0"/>
              <a:t>Diastole (relaxation) – heart fills with blood</a:t>
            </a:r>
          </a:p>
          <a:p>
            <a:pPr marL="465750" lvl="1" indent="-285750"/>
            <a:r>
              <a:rPr lang="en-US" sz="1200" dirty="0"/>
              <a:t>Systole (contraction) – follows diastole, heart contracts to eject the blood. Right atrial systole comes first, followed by left atrial systole</a:t>
            </a:r>
          </a:p>
          <a:p>
            <a:pPr marL="285750" indent="-285750"/>
            <a:r>
              <a:rPr lang="en-US" sz="1400" dirty="0"/>
              <a:t>When the heart muscle is relaxed at end diastole, the ventricular pressure is at its resting level (</a:t>
            </a:r>
            <a:r>
              <a:rPr lang="en-US" sz="1400" b="1" i="1" dirty="0"/>
              <a:t>end-diastolic pressure</a:t>
            </a:r>
            <a:r>
              <a:rPr lang="en-US" sz="1400" dirty="0"/>
              <a:t>) and the ventricular volumes are at their maximal value (</a:t>
            </a:r>
            <a:r>
              <a:rPr lang="en-US" sz="1400" b="1" i="1" dirty="0"/>
              <a:t>end-diastolic volume</a:t>
            </a:r>
            <a:r>
              <a:rPr lang="en-US" sz="1400" dirty="0"/>
              <a:t>). </a:t>
            </a:r>
          </a:p>
          <a:p>
            <a:pPr marL="285750" indent="-285750"/>
            <a:r>
              <a:rPr lang="en-US" sz="1400" dirty="0"/>
              <a:t>At the end of ventricular systole when contraction is maximum, ejection ends, and the ventricular volumes are at their lowest (</a:t>
            </a:r>
            <a:r>
              <a:rPr lang="en-US" sz="1400" b="1" i="1" dirty="0"/>
              <a:t>end-systolic volume</a:t>
            </a:r>
            <a:r>
              <a:rPr lang="en-US" sz="1400" dirty="0"/>
              <a:t>).</a:t>
            </a:r>
          </a:p>
          <a:p>
            <a:pPr marL="285750" indent="-285750"/>
            <a:r>
              <a:rPr lang="en-US" sz="1400" dirty="0"/>
              <a:t>Stroke Volume (SV) = volume of ejected blood = End-Diastolic Volume (EDV) – End-Systolic Volume (ESV) </a:t>
            </a:r>
          </a:p>
          <a:p>
            <a:pPr marL="285750" indent="-285750"/>
            <a:r>
              <a:rPr lang="en-US" sz="1400" dirty="0"/>
              <a:t>Ejection Fraction (EF) = SV/EDV X 100</a:t>
            </a:r>
          </a:p>
          <a:p>
            <a:pPr marL="285750" indent="-285750"/>
            <a:r>
              <a:rPr lang="en-US" sz="1400" dirty="0"/>
              <a:t>Cardiac cycle duration = 60/Heart Rate (HR). So, for normal HR, duration = 60/75 = 0.8s</a:t>
            </a:r>
          </a:p>
        </p:txBody>
      </p:sp>
    </p:spTree>
    <p:extLst>
      <p:ext uri="{BB962C8B-B14F-4D97-AF65-F5344CB8AC3E}">
        <p14:creationId xmlns:p14="http://schemas.microsoft.com/office/powerpoint/2010/main" val="98936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Overview of Cardiac Cycle</a:t>
            </a:r>
          </a:p>
        </p:txBody>
      </p:sp>
      <p:sp>
        <p:nvSpPr>
          <p:cNvPr id="3" name="TextBox 2">
            <a:extLst>
              <a:ext uri="{FF2B5EF4-FFF2-40B4-BE49-F238E27FC236}">
                <a16:creationId xmlns:a16="http://schemas.microsoft.com/office/drawing/2014/main" id="{6B5BDD6B-3FA3-CCF1-0644-CC676AF073FC}"/>
              </a:ext>
            </a:extLst>
          </p:cNvPr>
          <p:cNvSpPr txBox="1"/>
          <p:nvPr/>
        </p:nvSpPr>
        <p:spPr>
          <a:xfrm>
            <a:off x="370082" y="4693374"/>
            <a:ext cx="8637284"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560400048X#hl0000128</a:t>
            </a:r>
            <a:r>
              <a:rPr lang="en-US" sz="800" b="0" i="0" dirty="0">
                <a:solidFill>
                  <a:srgbClr val="2E2E2E"/>
                </a:solidFill>
                <a:effectLst/>
                <a:latin typeface="ElsevierSansWeb"/>
              </a:rPr>
              <a:t>; </a:t>
            </a:r>
            <a:r>
              <a:rPr lang="en-US" sz="800" b="0" i="0" dirty="0">
                <a:solidFill>
                  <a:srgbClr val="2E2E2E"/>
                </a:solidFill>
                <a:effectLst/>
                <a:latin typeface="ElsevierSansWeb"/>
                <a:hlinkClick r:id="rId3"/>
              </a:rPr>
              <a:t>https://www.clinicalkey.com/student/content/book/3-s2.0-B9780323930383000411#hl0000223</a:t>
            </a:r>
            <a:r>
              <a:rPr lang="en-US" sz="800" b="0" i="0" dirty="0">
                <a:solidFill>
                  <a:srgbClr val="2E2E2E"/>
                </a:solidFill>
                <a:effectLst/>
                <a:latin typeface="ElsevierSansWeb"/>
              </a:rPr>
              <a:t>  </a:t>
            </a:r>
            <a:endParaRPr lang="en-US" sz="800" dirty="0"/>
          </a:p>
        </p:txBody>
      </p:sp>
      <p:sp>
        <p:nvSpPr>
          <p:cNvPr id="4" name="TextBox 3">
            <a:extLst>
              <a:ext uri="{FF2B5EF4-FFF2-40B4-BE49-F238E27FC236}">
                <a16:creationId xmlns:a16="http://schemas.microsoft.com/office/drawing/2014/main" id="{2C6442DE-A83D-EEC8-B4AD-299A97416A08}"/>
              </a:ext>
            </a:extLst>
          </p:cNvPr>
          <p:cNvSpPr txBox="1"/>
          <p:nvPr/>
        </p:nvSpPr>
        <p:spPr>
          <a:xfrm>
            <a:off x="5833241" y="578069"/>
            <a:ext cx="1965435" cy="369332"/>
          </a:xfrm>
          <a:prstGeom prst="rect">
            <a:avLst/>
          </a:prstGeom>
          <a:solidFill>
            <a:srgbClr val="FDD300"/>
          </a:solidFill>
        </p:spPr>
        <p:txBody>
          <a:bodyPr wrap="square" rtlCol="0">
            <a:spAutoFit/>
          </a:bodyPr>
          <a:lstStyle/>
          <a:p>
            <a:r>
              <a:rPr lang="en-US" dirty="0"/>
              <a:t>Insert diagram</a:t>
            </a:r>
          </a:p>
        </p:txBody>
      </p:sp>
      <p:sp>
        <p:nvSpPr>
          <p:cNvPr id="5" name="Text Placeholder 1">
            <a:extLst>
              <a:ext uri="{FF2B5EF4-FFF2-40B4-BE49-F238E27FC236}">
                <a16:creationId xmlns:a16="http://schemas.microsoft.com/office/drawing/2014/main" id="{BC726BA8-ED47-6E2B-8ACA-AF8DDCF0983F}"/>
              </a:ext>
            </a:extLst>
          </p:cNvPr>
          <p:cNvSpPr txBox="1">
            <a:spLocks/>
          </p:cNvSpPr>
          <p:nvPr/>
        </p:nvSpPr>
        <p:spPr>
          <a:xfrm>
            <a:off x="6138041" y="835026"/>
            <a:ext cx="2869325"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Atrial Cycle</a:t>
            </a:r>
          </a:p>
          <a:p>
            <a:pPr marL="465750" lvl="1" indent="-285750"/>
            <a:r>
              <a:rPr lang="en-US" sz="1200" dirty="0"/>
              <a:t>Atrial systole – 0.1s</a:t>
            </a:r>
          </a:p>
          <a:p>
            <a:pPr marL="465750" lvl="1" indent="-285750"/>
            <a:r>
              <a:rPr lang="en-US" sz="1200" dirty="0"/>
              <a:t>Atrial diastole – 0.7s</a:t>
            </a:r>
          </a:p>
          <a:p>
            <a:pPr marL="285750" indent="-285750"/>
            <a:r>
              <a:rPr lang="en-US" sz="1400" dirty="0"/>
              <a:t>Ventricle Cycle</a:t>
            </a:r>
          </a:p>
          <a:p>
            <a:pPr marL="465750" lvl="1" indent="-285750"/>
            <a:r>
              <a:rPr lang="en-US" sz="1200" dirty="0"/>
              <a:t>Ventricular systole – 0.3s – isovolumetric contraction (0.5s), ventricular ejection (rapid and slow, 0.25s)</a:t>
            </a:r>
          </a:p>
          <a:p>
            <a:pPr marL="465750" lvl="1" indent="-285750"/>
            <a:r>
              <a:rPr lang="en-US" sz="1200" dirty="0"/>
              <a:t>Ventricular diastole – 0.5s – </a:t>
            </a:r>
            <a:r>
              <a:rPr lang="en-US" sz="1200" dirty="0" err="1"/>
              <a:t>protodiastole</a:t>
            </a:r>
            <a:r>
              <a:rPr lang="en-US" sz="1200" dirty="0"/>
              <a:t> (0.04s), isovolumetric relaxation (0.06s), rapid passive filling (0.11s), reduced filling or diastasis (0.19s), Last rapid filling phase which coincides with the atrial systole (0.1 second)</a:t>
            </a:r>
          </a:p>
        </p:txBody>
      </p:sp>
    </p:spTree>
    <p:extLst>
      <p:ext uri="{BB962C8B-B14F-4D97-AF65-F5344CB8AC3E}">
        <p14:creationId xmlns:p14="http://schemas.microsoft.com/office/powerpoint/2010/main" val="2224471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Overview of Cardiac Cycle</a:t>
            </a:r>
          </a:p>
        </p:txBody>
      </p:sp>
      <p:sp>
        <p:nvSpPr>
          <p:cNvPr id="4" name="TextBox 3">
            <a:extLst>
              <a:ext uri="{FF2B5EF4-FFF2-40B4-BE49-F238E27FC236}">
                <a16:creationId xmlns:a16="http://schemas.microsoft.com/office/drawing/2014/main" id="{8EE4BE72-DF28-CA83-354F-BDA3E132BCCD}"/>
              </a:ext>
            </a:extLst>
          </p:cNvPr>
          <p:cNvSpPr txBox="1"/>
          <p:nvPr/>
        </p:nvSpPr>
        <p:spPr>
          <a:xfrm>
            <a:off x="746234" y="1229710"/>
            <a:ext cx="8145518" cy="1631216"/>
          </a:xfrm>
          <a:prstGeom prst="rect">
            <a:avLst/>
          </a:prstGeom>
          <a:noFill/>
        </p:spPr>
        <p:txBody>
          <a:bodyPr wrap="square" rtlCol="0">
            <a:spAutoFit/>
          </a:bodyPr>
          <a:lstStyle/>
          <a:p>
            <a:r>
              <a:rPr lang="en-US" sz="2400" b="1" dirty="0">
                <a:solidFill>
                  <a:srgbClr val="7030A0"/>
                </a:solidFill>
                <a:latin typeface="Georgia" panose="02040502050405020303" pitchFamily="18" charset="0"/>
              </a:rPr>
              <a:t>Class Discussion</a:t>
            </a:r>
          </a:p>
          <a:p>
            <a:r>
              <a:rPr lang="en-US" sz="3600" dirty="0">
                <a:solidFill>
                  <a:srgbClr val="7030A0"/>
                </a:solidFill>
                <a:latin typeface="Georgia" panose="02040502050405020303" pitchFamily="18" charset="0"/>
              </a:rPr>
              <a:t>What do you think happens when HR rises to 200, for example, in the gym?</a:t>
            </a:r>
          </a:p>
        </p:txBody>
      </p:sp>
      <p:sp>
        <p:nvSpPr>
          <p:cNvPr id="3" name="TextBox 2">
            <a:extLst>
              <a:ext uri="{FF2B5EF4-FFF2-40B4-BE49-F238E27FC236}">
                <a16:creationId xmlns:a16="http://schemas.microsoft.com/office/drawing/2014/main" id="{C426D038-B3BE-14DB-3B45-44D1E6BEBDBD}"/>
              </a:ext>
            </a:extLst>
          </p:cNvPr>
          <p:cNvSpPr txBox="1"/>
          <p:nvPr/>
        </p:nvSpPr>
        <p:spPr>
          <a:xfrm>
            <a:off x="370082" y="4693374"/>
            <a:ext cx="8637284" cy="215444"/>
          </a:xfrm>
          <a:prstGeom prst="rect">
            <a:avLst/>
          </a:prstGeom>
          <a:noFill/>
        </p:spPr>
        <p:txBody>
          <a:bodyPr wrap="square" rtlCol="0">
            <a:spAutoFit/>
          </a:bodyPr>
          <a:lstStyle/>
          <a:p>
            <a:r>
              <a:rPr lang="en-US" sz="800" dirty="0"/>
              <a:t>Read more here: </a:t>
            </a:r>
            <a:r>
              <a:rPr lang="en-US" sz="800" b="0" i="0" dirty="0">
                <a:solidFill>
                  <a:srgbClr val="2E2E2E"/>
                </a:solidFill>
                <a:effectLst/>
                <a:latin typeface="ElsevierSansWeb"/>
                <a:hlinkClick r:id="rId2"/>
              </a:rPr>
              <a:t>https://www.clinicalkey.com/student/content/book/3-s2.0-B9780323930383000411#hl0000286</a:t>
            </a:r>
            <a:r>
              <a:rPr lang="en-US" sz="800" b="0" i="0" dirty="0">
                <a:solidFill>
                  <a:srgbClr val="2E2E2E"/>
                </a:solidFill>
                <a:effectLst/>
                <a:latin typeface="ElsevierSansWeb"/>
              </a:rPr>
              <a:t> </a:t>
            </a:r>
            <a:endParaRPr lang="en-US" sz="800" dirty="0"/>
          </a:p>
        </p:txBody>
      </p:sp>
    </p:spTree>
    <p:extLst>
      <p:ext uri="{BB962C8B-B14F-4D97-AF65-F5344CB8AC3E}">
        <p14:creationId xmlns:p14="http://schemas.microsoft.com/office/powerpoint/2010/main" val="832965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wQASwwAAAAAAAAAAAAAIAD///////////////8AAAD///////////////8DAAAAAwD///////////////////////////////////////////////////////////////////////////////////////////////////////////////////////////////////////////////////////////////////////////////////////////////////////////////////////////////////////////////////////////////////////////////////////////////////////////////////////////////////////////////////////////////////////////////////////////////////////////////////////////////////////////////////////////////////////////////////////////////////////////////8BACAA////////////////AAAO////////AwAAAAIA////////////////////////////////////////////////////////////////////////////////////////////////////////////////////////////////////////////////////////////////////////////////////////////////////////////////////////////////////////////////////////////////////////////////////////////////////////////////////////////////////////////////////////////////////////////////////////////////////////////////////////////////////////////////////////////////////////////////////////////////////////////////////////AgABAP///////wQAAAACABAACyJ0heV53PlGtRYX1JzAFO0FAAAAAAADAAAAAwADAAAAAQADAAEA////////BAAAAAMAEAALm6GqAtnBEU68A6dwI+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CJ0heV53PlGtRYX1JzAFO0DRGF0YQAbAAAABExpbmtlZFNoYXBlRGF0YQAFAAAAAAACTmFtZQAZAAAATGlua2VkU2hhcGVzRGF0YVByb3BlcnR5ABBWZXJzaW9uAAAAAAAJTGFzdFdyaXRlAMzT+5l6AQAAAAEA/////50AnQAAAAVfaWQAEAAAAASboaoC2cERTrwDp3Aj6coQA0RhdGEAKgAAAAhQcmVzZW50YXRpb25TY2FubmVkRm9yTGlua2VkU2hhcGVzAAEAAk5hbWUAJAAAAExpbmtlZFNoYXBlUHJlc2VudGF0aW9uU2V0dGluZ3NEYXRhABBWZXJzaW9uAAAAAAAJTGFzdFdyaXRlAN/T+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COAUTHORING_SESSION_ID" val="b566149e-3710-4e24-8c13-ab592f63e281"/>
  <p:tag name="UNDO_REDO_REVISION" val="91"/>
  <p:tag name="MIO_PRESENTATION_LANGUAGE" val="1033"/>
</p:tagLst>
</file>

<file path=ppt/theme/theme1.xml><?xml version="1.0" encoding="utf-8"?>
<a:theme xmlns:a="http://schemas.openxmlformats.org/drawingml/2006/main" name="Elsevier light">
  <a:themeElements>
    <a:clrScheme name="Elsevier2_0">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D9B95B7-7997-4FB9-A47B-A8D416D981DD}"/>
    </a:ext>
  </a:extLst>
</a:theme>
</file>

<file path=ppt/theme/theme2.xml><?xml version="1.0" encoding="utf-8"?>
<a:theme xmlns:a="http://schemas.openxmlformats.org/drawingml/2006/main" name="Elsevier light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1895935-4782-4ED3-9F2E-DA9302EF7568}"/>
    </a:ext>
  </a:extLst>
</a:theme>
</file>

<file path=ppt/theme/theme3.xml><?xml version="1.0" encoding="utf-8"?>
<a:theme xmlns:a="http://schemas.openxmlformats.org/drawingml/2006/main" name="Elsevier dark">
  <a:themeElements>
    <a:clrScheme name="Elsevier_2.0_Dark">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0B725E11-DC5A-4140-B411-6A18A3B7ACAE}"/>
    </a:ext>
  </a:extLst>
</a:theme>
</file>

<file path=ppt/theme/theme4.xml><?xml version="1.0" encoding="utf-8"?>
<a:theme xmlns:a="http://schemas.openxmlformats.org/drawingml/2006/main" name="Elsevier dark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8CCF67CE-5720-4FD2-9BFE-20E687D7571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39014f52-50b0-4a97-a731-c01c8333ea4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5F68678B8AEDC47B524AFF2D0F638A3" ma:contentTypeVersion="18" ma:contentTypeDescription="Create a new document." ma:contentTypeScope="" ma:versionID="ae6d2c31f9eda3294342ea22d876dbf0">
  <xsd:schema xmlns:xsd="http://www.w3.org/2001/XMLSchema" xmlns:xs="http://www.w3.org/2001/XMLSchema" xmlns:p="http://schemas.microsoft.com/office/2006/metadata/properties" xmlns:ns3="39014f52-50b0-4a97-a731-c01c8333ea41" xmlns:ns4="25b2333b-f912-488b-8cb1-486501b44c3d" targetNamespace="http://schemas.microsoft.com/office/2006/metadata/properties" ma:root="true" ma:fieldsID="36625ae54f8a04a259fb7bf6be198dd9" ns3:_="" ns4:_="">
    <xsd:import namespace="39014f52-50b0-4a97-a731-c01c8333ea41"/>
    <xsd:import namespace="25b2333b-f912-488b-8cb1-486501b44c3d"/>
    <xsd:element name="properties">
      <xsd:complexType>
        <xsd:sequence>
          <xsd:element name="documentManagement">
            <xsd:complexType>
              <xsd:all>
                <xsd:element ref="ns3:MediaServiceMetadata" minOccurs="0"/>
                <xsd:element ref="ns3:MediaServiceFastMetadata" minOccurs="0"/>
                <xsd:element ref="ns3:MediaServiceEventHashCode" minOccurs="0"/>
                <xsd:element ref="ns3:MediaServiceGenerationTime" minOccurs="0"/>
                <xsd:element ref="ns3:MediaServiceDateTaken" minOccurs="0"/>
                <xsd:element ref="ns3:MediaServiceAutoTags" minOccurs="0"/>
                <xsd:element ref="ns3:MediaServiceOCR" minOccurs="0"/>
                <xsd:element ref="ns3:MediaServiceAutoKeyPoints" minOccurs="0"/>
                <xsd:element ref="ns3:MediaServiceKeyPoints" minOccurs="0"/>
                <xsd:element ref="ns3:MediaServiceLocation" minOccurs="0"/>
                <xsd:element ref="ns4:SharedWithUsers" minOccurs="0"/>
                <xsd:element ref="ns4:SharedWithDetails" minOccurs="0"/>
                <xsd:element ref="ns4:SharingHintHash" minOccurs="0"/>
                <xsd:element ref="ns3:MediaLengthInSeconds" minOccurs="0"/>
                <xsd:element ref="ns3:_activity" minOccurs="0"/>
                <xsd:element ref="ns3:MediaServiceSearchProperties"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014f52-50b0-4a97-a731-c01c8333ea4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5b2333b-f912-488b-8cb1-486501b44c3d"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205078C-D543-4AB3-A687-D75F04AFC05D}">
  <ds:schemaRefs>
    <ds:schemaRef ds:uri="http://purl.org/dc/terms/"/>
    <ds:schemaRef ds:uri="http://purl.org/dc/dcmitype/"/>
    <ds:schemaRef ds:uri="http://www.w3.org/XML/1998/namespace"/>
    <ds:schemaRef ds:uri="http://schemas.microsoft.com/office/2006/documentManagement/types"/>
    <ds:schemaRef ds:uri="http://schemas.microsoft.com/office/2006/metadata/properties"/>
    <ds:schemaRef ds:uri="39014f52-50b0-4a97-a731-c01c8333ea41"/>
    <ds:schemaRef ds:uri="http://schemas.microsoft.com/office/infopath/2007/PartnerControls"/>
    <ds:schemaRef ds:uri="http://schemas.openxmlformats.org/package/2006/metadata/core-properties"/>
    <ds:schemaRef ds:uri="25b2333b-f912-488b-8cb1-486501b44c3d"/>
    <ds:schemaRef ds:uri="http://purl.org/dc/elements/1.1/"/>
  </ds:schemaRefs>
</ds:datastoreItem>
</file>

<file path=customXml/itemProps2.xml><?xml version="1.0" encoding="utf-8"?>
<ds:datastoreItem xmlns:ds="http://schemas.openxmlformats.org/officeDocument/2006/customXml" ds:itemID="{C441EBC0-C76A-40BB-A20B-8A1CE29BFE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9014f52-50b0-4a97-a731-c01c8333ea41"/>
    <ds:schemaRef ds:uri="25b2333b-f912-488b-8cb1-486501b44c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8669AF2-6ACA-4692-8AFE-96F8961D55B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LS_PPT_20211217_</Template>
  <TotalTime>1199</TotalTime>
  <Words>2762</Words>
  <Application>Microsoft Office PowerPoint</Application>
  <PresentationFormat>On-screen Show (16:9)</PresentationFormat>
  <Paragraphs>204</Paragraphs>
  <Slides>31</Slides>
  <Notes>8</Notes>
  <HiddenSlides>0</HiddenSlides>
  <MMClips>0</MMClips>
  <ScaleCrop>false</ScaleCrop>
  <HeadingPairs>
    <vt:vector size="6" baseType="variant">
      <vt:variant>
        <vt:lpstr>Fonts Used</vt:lpstr>
      </vt:variant>
      <vt:variant>
        <vt:i4>4</vt:i4>
      </vt:variant>
      <vt:variant>
        <vt:lpstr>Theme</vt:lpstr>
      </vt:variant>
      <vt:variant>
        <vt:i4>4</vt:i4>
      </vt:variant>
      <vt:variant>
        <vt:lpstr>Slide Titles</vt:lpstr>
      </vt:variant>
      <vt:variant>
        <vt:i4>31</vt:i4>
      </vt:variant>
    </vt:vector>
  </HeadingPairs>
  <TitlesOfParts>
    <vt:vector size="39" baseType="lpstr">
      <vt:lpstr>Arial</vt:lpstr>
      <vt:lpstr>Courier New</vt:lpstr>
      <vt:lpstr>ElsevierSansWeb</vt:lpstr>
      <vt:lpstr>Georgia</vt:lpstr>
      <vt:lpstr>Elsevier light</vt:lpstr>
      <vt:lpstr>Elsevier light - Charts and Data</vt:lpstr>
      <vt:lpstr>Elsevier dark</vt:lpstr>
      <vt:lpstr>Elsevier dark - Charts and Data</vt:lpstr>
      <vt:lpstr>Sample Lecture on Cardiac Cycle</vt:lpstr>
      <vt:lpstr>Learning Objectives</vt:lpstr>
      <vt:lpstr>Pre-Read</vt:lpstr>
      <vt:lpstr>Heart Anatomy</vt:lpstr>
      <vt:lpstr>Heart Anatomy</vt:lpstr>
      <vt:lpstr>Lecture</vt:lpstr>
      <vt:lpstr>Overview of Cardiac Cycle</vt:lpstr>
      <vt:lpstr>Overview of Cardiac Cycle</vt:lpstr>
      <vt:lpstr>Overview of Cardiac Cycle</vt:lpstr>
      <vt:lpstr>Atrial Systole</vt:lpstr>
      <vt:lpstr>Atrial Diastole</vt:lpstr>
      <vt:lpstr>Ventricular Systole</vt:lpstr>
      <vt:lpstr>Ventricular Systole</vt:lpstr>
      <vt:lpstr>Ventricular Diastole</vt:lpstr>
      <vt:lpstr>Full Cycle Pressure Curve and ECG</vt:lpstr>
      <vt:lpstr>Wigger’s Diagram</vt:lpstr>
      <vt:lpstr>Cardiac Cycle Summary</vt:lpstr>
      <vt:lpstr>Kahoot Quiz During Class</vt:lpstr>
      <vt:lpstr>Sample Assignment Questions</vt:lpstr>
      <vt:lpstr>Sample Assignment Questions</vt:lpstr>
      <vt:lpstr>Sample Assignment Questions</vt:lpstr>
      <vt:lpstr>Cardiac Cycle – Case-Based Learning</vt:lpstr>
      <vt:lpstr>Post-Lecture Video Assignment</vt:lpstr>
      <vt:lpstr>How to Read an ECG</vt:lpstr>
      <vt:lpstr>Heart Sounds</vt:lpstr>
      <vt:lpstr>Further Learning</vt:lpstr>
      <vt:lpstr>Summary of Cardiac Cycle Lecture</vt:lpstr>
      <vt:lpstr>Cardiac Cycle Quick Revision</vt:lpstr>
      <vt:lpstr>Appendix</vt:lpstr>
      <vt:lpstr>Cardiac Cycle – Case-Based Learning</vt:lpstr>
      <vt:lpstr>Tuberculosis – Case-Based Lear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opus Data on Research Performance</dc:title>
  <dc:creator>Gulati, Natasha (ELS-KUL)</dc:creator>
  <cp:lastModifiedBy>Gulati, Natasha (ELS-KUL)</cp:lastModifiedBy>
  <cp:revision>3</cp:revision>
  <cp:lastPrinted>2018-07-23T12:36:44Z</cp:lastPrinted>
  <dcterms:created xsi:type="dcterms:W3CDTF">2023-08-22T12:19:49Z</dcterms:created>
  <dcterms:modified xsi:type="dcterms:W3CDTF">2024-01-18T13:07:15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sedEntity">
    <vt:lpwstr>Templates</vt:lpwstr>
  </property>
  <property fmtid="{D5CDD505-2E9C-101B-9397-08002B2CF9AE}" pid="3" name="MSIP_Label_549ac42a-3eb4-4074-b885-aea26bd6241e_Enabled">
    <vt:lpwstr>true</vt:lpwstr>
  </property>
  <property fmtid="{D5CDD505-2E9C-101B-9397-08002B2CF9AE}" pid="4" name="MSIP_Label_549ac42a-3eb4-4074-b885-aea26bd6241e_SetDate">
    <vt:lpwstr>2023-08-22T12:27:07Z</vt:lpwstr>
  </property>
  <property fmtid="{D5CDD505-2E9C-101B-9397-08002B2CF9AE}" pid="5" name="MSIP_Label_549ac42a-3eb4-4074-b885-aea26bd6241e_Method">
    <vt:lpwstr>Standard</vt:lpwstr>
  </property>
  <property fmtid="{D5CDD505-2E9C-101B-9397-08002B2CF9AE}" pid="6" name="MSIP_Label_549ac42a-3eb4-4074-b885-aea26bd6241e_Name">
    <vt:lpwstr>General Business</vt:lpwstr>
  </property>
  <property fmtid="{D5CDD505-2E9C-101B-9397-08002B2CF9AE}" pid="7" name="MSIP_Label_549ac42a-3eb4-4074-b885-aea26bd6241e_SiteId">
    <vt:lpwstr>9274ee3f-9425-4109-a27f-9fb15c10675d</vt:lpwstr>
  </property>
  <property fmtid="{D5CDD505-2E9C-101B-9397-08002B2CF9AE}" pid="8" name="MSIP_Label_549ac42a-3eb4-4074-b885-aea26bd6241e_ActionId">
    <vt:lpwstr>ec9e5328-1f8d-4e3a-9959-c017a634f3ad</vt:lpwstr>
  </property>
  <property fmtid="{D5CDD505-2E9C-101B-9397-08002B2CF9AE}" pid="9" name="MSIP_Label_549ac42a-3eb4-4074-b885-aea26bd6241e_ContentBits">
    <vt:lpwstr>0</vt:lpwstr>
  </property>
  <property fmtid="{D5CDD505-2E9C-101B-9397-08002B2CF9AE}" pid="10" name="ContentTypeId">
    <vt:lpwstr>0x01010045F68678B8AEDC47B524AFF2D0F638A3</vt:lpwstr>
  </property>
</Properties>
</file>